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3"/>
  </p:notesMasterIdLst>
  <p:sldIdLst>
    <p:sldId id="291" r:id="rId2"/>
    <p:sldId id="473" r:id="rId3"/>
    <p:sldId id="332" r:id="rId4"/>
    <p:sldId id="2146848448" r:id="rId5"/>
    <p:sldId id="3796" r:id="rId6"/>
    <p:sldId id="472" r:id="rId7"/>
    <p:sldId id="471" r:id="rId8"/>
    <p:sldId id="463" r:id="rId9"/>
    <p:sldId id="304" r:id="rId10"/>
    <p:sldId id="340" r:id="rId11"/>
    <p:sldId id="298" r:id="rId12"/>
    <p:sldId id="299" r:id="rId13"/>
    <p:sldId id="301" r:id="rId14"/>
    <p:sldId id="303" r:id="rId15"/>
    <p:sldId id="462" r:id="rId16"/>
    <p:sldId id="333" r:id="rId17"/>
    <p:sldId id="325" r:id="rId18"/>
    <p:sldId id="268" r:id="rId19"/>
    <p:sldId id="257" r:id="rId20"/>
    <p:sldId id="338" r:id="rId21"/>
    <p:sldId id="437" r:id="rId22"/>
    <p:sldId id="444" r:id="rId23"/>
    <p:sldId id="423" r:id="rId24"/>
    <p:sldId id="454" r:id="rId25"/>
    <p:sldId id="305" r:id="rId26"/>
    <p:sldId id="461" r:id="rId27"/>
    <p:sldId id="457" r:id="rId28"/>
    <p:sldId id="343" r:id="rId29"/>
    <p:sldId id="258" r:id="rId30"/>
    <p:sldId id="259" r:id="rId31"/>
    <p:sldId id="292" r:id="rId32"/>
  </p:sldIdLst>
  <p:sldSz cx="12192000" cy="6858000"/>
  <p:notesSz cx="12192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60805A3-656D-47CB-B24F-F2808CF4171F}">
          <p14:sldIdLst>
            <p14:sldId id="291"/>
            <p14:sldId id="473"/>
            <p14:sldId id="332"/>
            <p14:sldId id="2146848448"/>
            <p14:sldId id="3796"/>
            <p14:sldId id="472"/>
            <p14:sldId id="471"/>
            <p14:sldId id="463"/>
            <p14:sldId id="304"/>
            <p14:sldId id="340"/>
            <p14:sldId id="298"/>
            <p14:sldId id="299"/>
            <p14:sldId id="301"/>
            <p14:sldId id="303"/>
            <p14:sldId id="462"/>
            <p14:sldId id="333"/>
            <p14:sldId id="325"/>
            <p14:sldId id="268"/>
          </p14:sldIdLst>
        </p14:section>
        <p14:section name="Раздел по умолчанию" id="{0DC41B49-93BF-4D94-A8EF-057E62C37B05}">
          <p14:sldIdLst>
            <p14:sldId id="257"/>
            <p14:sldId id="338"/>
            <p14:sldId id="437"/>
            <p14:sldId id="444"/>
            <p14:sldId id="423"/>
            <p14:sldId id="454"/>
            <p14:sldId id="305"/>
            <p14:sldId id="461"/>
            <p14:sldId id="457"/>
            <p14:sldId id="343"/>
            <p14:sldId id="258"/>
            <p14:sldId id="259"/>
            <p14:sldId id="29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8B9E"/>
    <a:srgbClr val="238DB3"/>
    <a:srgbClr val="44B2C8"/>
    <a:srgbClr val="06B295"/>
    <a:srgbClr val="61BED1"/>
    <a:srgbClr val="39AAC1"/>
    <a:srgbClr val="23B349"/>
    <a:srgbClr val="DA173E"/>
    <a:srgbClr val="1F385D"/>
    <a:srgbClr val="F4F5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54" autoAdjust="0"/>
    <p:restoredTop sz="93918" autoAdjust="0"/>
  </p:normalViewPr>
  <p:slideViewPr>
    <p:cSldViewPr>
      <p:cViewPr varScale="1">
        <p:scale>
          <a:sx n="107" d="100"/>
          <a:sy n="107" d="100"/>
        </p:scale>
        <p:origin x="594" y="11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C80B70C-1D6B-40F0-88B1-8BC20FC88A86}" type="doc">
      <dgm:prSet loTypeId="urn:microsoft.com/office/officeart/2005/8/layout/process4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EA4AD045-4F63-4765-9AB5-6B93EA8F8545}">
      <dgm:prSet phldrT="[Текст]"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Smart</a:t>
          </a:r>
          <a:r>
            <a:rPr lang="ru-RU" sz="1400" dirty="0">
              <a:latin typeface="Century Gothic" pitchFamily="34" charset="0"/>
            </a:rPr>
            <a:t> </a:t>
          </a:r>
          <a:r>
            <a:rPr lang="ru-RU" sz="1400" dirty="0" err="1">
              <a:latin typeface="Century Gothic" pitchFamily="34" charset="0"/>
            </a:rPr>
            <a:t>адамдар</a:t>
          </a:r>
          <a:endParaRPr lang="ru-RU" sz="1400" dirty="0">
            <a:latin typeface="Century Gothic" pitchFamily="34" charset="0"/>
          </a:endParaRPr>
        </a:p>
      </dgm:t>
    </dgm:pt>
    <dgm:pt modelId="{C3BB85F6-5696-427C-8ADE-326E7FD6A557}" type="parTrans" cxnId="{71E8CA80-1378-4AF9-A26F-67670E47160A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17B76004-4E58-45F4-8989-B182CBEFDD83}" type="sibTrans" cxnId="{71E8CA80-1378-4AF9-A26F-67670E47160A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40CF3A67-EE48-45CE-8CEF-3C51D25BF0FF}">
      <dgm:prSet phldrT="[Текст]" custT="1"/>
      <dgm:spPr/>
      <dgm:t>
        <a:bodyPr/>
        <a:lstStyle/>
        <a:p>
          <a:r>
            <a:rPr lang="ru-RU" sz="1400" dirty="0">
              <a:latin typeface="Century Gothic" pitchFamily="34" charset="0"/>
            </a:rPr>
            <a:t>Б</a:t>
          </a:r>
          <a:r>
            <a:rPr lang="kk-KZ" sz="1400" dirty="0">
              <a:latin typeface="Century Gothic" pitchFamily="34" charset="0"/>
            </a:rPr>
            <a:t>ілім беру </a:t>
          </a:r>
          <a:endParaRPr lang="ru-RU" sz="1400" dirty="0">
            <a:latin typeface="Century Gothic" pitchFamily="34" charset="0"/>
          </a:endParaRPr>
        </a:p>
      </dgm:t>
    </dgm:pt>
    <dgm:pt modelId="{0EF080AE-545B-49C5-8D80-B698F1844163}" type="parTrans" cxnId="{04F3A00E-A161-4079-809D-27CDE45C4BEF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0BFC6363-CCED-4497-BF42-416615545A75}" type="sibTrans" cxnId="{04F3A00E-A161-4079-809D-27CDE45C4BEF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6495BAEB-10EC-4592-8FC3-B49E9CA998E2}">
      <dgm:prSet phldrT="[Текст]"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Әлеуметтік-еңбек</a:t>
          </a:r>
          <a:r>
            <a:rPr lang="ru-RU" sz="1400" dirty="0">
              <a:latin typeface="Century Gothic" pitchFamily="34" charset="0"/>
            </a:rPr>
            <a:t> </a:t>
          </a:r>
          <a:r>
            <a:rPr lang="ru-RU" sz="1400" dirty="0" err="1">
              <a:latin typeface="Century Gothic" pitchFamily="34" charset="0"/>
            </a:rPr>
            <a:t>саласы</a:t>
          </a:r>
          <a:endParaRPr lang="ru-RU" sz="1400" dirty="0">
            <a:latin typeface="Century Gothic" pitchFamily="34" charset="0"/>
          </a:endParaRPr>
        </a:p>
      </dgm:t>
    </dgm:pt>
    <dgm:pt modelId="{2F6ECB18-0580-4C8B-9B41-FA6E0E4806D4}" type="parTrans" cxnId="{D54224C8-FB3C-42B6-A938-168A993B32BA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346B9F0B-B726-448A-9E4E-65092CB8F14C}" type="sibTrans" cxnId="{D54224C8-FB3C-42B6-A938-168A993B32BA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02E6D80E-6181-4255-ACAB-F24A8276D681}">
      <dgm:prSet phldrT="[Текст]" custT="1"/>
      <dgm:spPr/>
      <dgm:t>
        <a:bodyPr/>
        <a:lstStyle/>
        <a:p>
          <a:r>
            <a:rPr lang="en-US" sz="1400" dirty="0">
              <a:latin typeface="Century Gothic" pitchFamily="34" charset="0"/>
            </a:rPr>
            <a:t>Smart </a:t>
          </a:r>
          <a:r>
            <a:rPr lang="ru-RU" sz="1400" dirty="0" err="1">
              <a:latin typeface="Century Gothic" pitchFamily="34" charset="0"/>
            </a:rPr>
            <a:t>ұтқырлық</a:t>
          </a:r>
          <a:endParaRPr lang="ru-RU" sz="1400" dirty="0">
            <a:latin typeface="Century Gothic" pitchFamily="34" charset="0"/>
          </a:endParaRPr>
        </a:p>
      </dgm:t>
    </dgm:pt>
    <dgm:pt modelId="{31394B84-0508-441E-B1DE-3FE0270BB039}" type="parTrans" cxnId="{521A8FBC-CD0D-45D0-B8E8-E5E628768C4C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61530767-9184-4515-AEF4-93FB159B1E5D}" type="sibTrans" cxnId="{521A8FBC-CD0D-45D0-B8E8-E5E628768C4C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A003B787-4DEF-4CA3-92CD-BCA1B9C384C5}">
      <dgm:prSet phldrT="[Текст]" custT="1"/>
      <dgm:spPr/>
      <dgm:t>
        <a:bodyPr/>
        <a:lstStyle/>
        <a:p>
          <a:r>
            <a:rPr lang="en-US" sz="1400" dirty="0" err="1">
              <a:latin typeface="Century Gothic" pitchFamily="34" charset="0"/>
            </a:rPr>
            <a:t>Транспорт</a:t>
          </a:r>
          <a:r>
            <a:rPr lang="en-US" sz="1400" dirty="0">
              <a:latin typeface="Century Gothic" pitchFamily="34" charset="0"/>
            </a:rPr>
            <a:t> и </a:t>
          </a:r>
          <a:r>
            <a:rPr lang="en-US" sz="1400" dirty="0" err="1">
              <a:latin typeface="Century Gothic" pitchFamily="34" charset="0"/>
            </a:rPr>
            <a:t>логистика</a:t>
          </a:r>
          <a:endParaRPr lang="ru-RU" sz="1400" dirty="0">
            <a:latin typeface="Century Gothic" pitchFamily="34" charset="0"/>
          </a:endParaRPr>
        </a:p>
      </dgm:t>
    </dgm:pt>
    <dgm:pt modelId="{CF710DED-0126-4304-A9F5-C0DA20330F04}" type="parTrans" cxnId="{178B68A3-AE03-4516-8C28-C0D3B3C36689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CED3F851-DDF6-44D9-9E1B-7612A142C1C3}" type="sibTrans" cxnId="{178B68A3-AE03-4516-8C28-C0D3B3C36689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6EAED507-CBC5-4BCE-95CC-4A9161D5E06E}">
      <dgm:prSet phldrT="[Текст]" custT="1"/>
      <dgm:spPr/>
      <dgm:t>
        <a:bodyPr/>
        <a:lstStyle/>
        <a:p>
          <a:r>
            <a:rPr lang="en-US" sz="1400" dirty="0" err="1">
              <a:latin typeface="Century Gothic" pitchFamily="34" charset="0"/>
            </a:rPr>
            <a:t>Дорожная</a:t>
          </a:r>
          <a:r>
            <a:rPr lang="en-US" sz="1400" dirty="0">
              <a:latin typeface="Century Gothic" pitchFamily="34" charset="0"/>
            </a:rPr>
            <a:t> </a:t>
          </a:r>
          <a:r>
            <a:rPr lang="en-US" sz="1400" dirty="0" err="1">
              <a:latin typeface="Century Gothic" pitchFamily="34" charset="0"/>
            </a:rPr>
            <a:t>инфраструктура</a:t>
          </a:r>
          <a:endParaRPr lang="ru-RU" sz="1400" dirty="0">
            <a:latin typeface="Century Gothic" pitchFamily="34" charset="0"/>
          </a:endParaRPr>
        </a:p>
      </dgm:t>
    </dgm:pt>
    <dgm:pt modelId="{EF470339-68A2-45C8-BD22-68AE2EA228F5}" type="parTrans" cxnId="{ABEDAB7D-10E7-4087-9F93-80ED890E208A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16F991CA-AE51-45BD-B4B9-C1DD9BF86E56}" type="sibTrans" cxnId="{ABEDAB7D-10E7-4087-9F93-80ED890E208A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7EB5FA39-5B26-46B4-8418-23C9EDD335F0}">
      <dgm:prSet phldrT="[Текст]" custT="1"/>
      <dgm:spPr/>
      <dgm:t>
        <a:bodyPr/>
        <a:lstStyle/>
        <a:p>
          <a:r>
            <a:rPr lang="en-US" sz="1400" dirty="0">
              <a:latin typeface="Century Gothic" pitchFamily="34" charset="0"/>
            </a:rPr>
            <a:t>Smart </a:t>
          </a:r>
          <a:r>
            <a:rPr lang="ru-RU" sz="1400" dirty="0" err="1">
              <a:latin typeface="Century Gothic" pitchFamily="34" charset="0"/>
            </a:rPr>
            <a:t>өмір</a:t>
          </a:r>
          <a:r>
            <a:rPr lang="ru-RU" sz="1400" dirty="0">
              <a:latin typeface="Century Gothic" pitchFamily="34" charset="0"/>
            </a:rPr>
            <a:t> </a:t>
          </a:r>
          <a:r>
            <a:rPr lang="ru-RU" sz="1400" dirty="0" err="1">
              <a:latin typeface="Century Gothic" pitchFamily="34" charset="0"/>
            </a:rPr>
            <a:t>салты</a:t>
          </a:r>
          <a:endParaRPr lang="ru-RU" sz="1400" dirty="0">
            <a:latin typeface="Century Gothic" pitchFamily="34" charset="0"/>
          </a:endParaRPr>
        </a:p>
      </dgm:t>
    </dgm:pt>
    <dgm:pt modelId="{53AD72DD-7286-4581-A3E7-16B939B336F6}" type="parTrans" cxnId="{21A1F869-CEDF-4246-AB69-60FFA9DDCEDE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311ADB02-9BF4-45EB-8CEE-3ED2BDA61B9C}" type="sibTrans" cxnId="{21A1F869-CEDF-4246-AB69-60FFA9DDCEDE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85617185-9C42-4A86-92A2-9B326947814C}">
      <dgm:prSet phldrT="[Текст]"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Денсаулық</a:t>
          </a:r>
          <a:r>
            <a:rPr lang="ru-RU" sz="1400" dirty="0">
              <a:latin typeface="Century Gothic" pitchFamily="34" charset="0"/>
            </a:rPr>
            <a:t> </a:t>
          </a:r>
          <a:r>
            <a:rPr lang="ru-RU" sz="1400" dirty="0" err="1">
              <a:latin typeface="Century Gothic" pitchFamily="34" charset="0"/>
            </a:rPr>
            <a:t>сақтау</a:t>
          </a:r>
          <a:endParaRPr lang="ru-RU" sz="1400" dirty="0">
            <a:latin typeface="Century Gothic" pitchFamily="34" charset="0"/>
          </a:endParaRPr>
        </a:p>
      </dgm:t>
    </dgm:pt>
    <dgm:pt modelId="{BB0445A5-1E27-490E-840F-0C14E1E4B355}" type="parTrans" cxnId="{D68F3761-6CD9-4C68-84FC-4F7FCEFCA601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93551C12-0AD8-4B74-AA9C-749ED081FDA8}" type="sibTrans" cxnId="{D68F3761-6CD9-4C68-84FC-4F7FCEFCA601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29B57011-2D63-4B0A-8518-DF2C4220A05E}">
      <dgm:prSet phldrT="[Текст]"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Қауіпсіздік</a:t>
          </a:r>
          <a:endParaRPr lang="ru-RU" sz="1400" dirty="0">
            <a:latin typeface="Century Gothic" pitchFamily="34" charset="0"/>
          </a:endParaRPr>
        </a:p>
      </dgm:t>
    </dgm:pt>
    <dgm:pt modelId="{61F32D4C-E715-4D64-9105-C17745271EEA}" type="parTrans" cxnId="{1FFE2490-4C1B-4F12-9671-4B25189593D7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6A8245B8-7498-468E-AC41-F083C81BB644}" type="sibTrans" cxnId="{1FFE2490-4C1B-4F12-9671-4B25189593D7}">
      <dgm:prSet/>
      <dgm:spPr/>
      <dgm:t>
        <a:bodyPr/>
        <a:lstStyle/>
        <a:p>
          <a:endParaRPr lang="ru-RU" sz="1400">
            <a:latin typeface="Century Gothic" pitchFamily="34" charset="0"/>
          </a:endParaRPr>
        </a:p>
      </dgm:t>
    </dgm:pt>
    <dgm:pt modelId="{24DE7201-1DB2-4C5D-AD8A-7DAB7FE61B24}">
      <dgm:prSet custT="1"/>
      <dgm:spPr/>
      <dgm:t>
        <a:bodyPr/>
        <a:lstStyle/>
        <a:p>
          <a:r>
            <a:rPr lang="ru-RU" sz="1400" dirty="0">
              <a:latin typeface="Century Gothic" pitchFamily="34" charset="0"/>
            </a:rPr>
            <a:t>Туризм, </a:t>
          </a:r>
          <a:r>
            <a:rPr lang="ru-RU" sz="1400" dirty="0" err="1">
              <a:latin typeface="Century Gothic" pitchFamily="34" charset="0"/>
            </a:rPr>
            <a:t>мәдениет</a:t>
          </a:r>
          <a:r>
            <a:rPr lang="ru-RU" sz="1400" dirty="0">
              <a:latin typeface="Century Gothic" pitchFamily="34" charset="0"/>
            </a:rPr>
            <a:t> </a:t>
          </a:r>
          <a:r>
            <a:rPr lang="ru-RU" sz="1400" dirty="0" err="1">
              <a:latin typeface="Century Gothic" pitchFamily="34" charset="0"/>
            </a:rPr>
            <a:t>және</a:t>
          </a:r>
          <a:r>
            <a:rPr lang="ru-RU" sz="1400" dirty="0">
              <a:latin typeface="Century Gothic" pitchFamily="34" charset="0"/>
            </a:rPr>
            <a:t> спорт</a:t>
          </a:r>
        </a:p>
      </dgm:t>
    </dgm:pt>
    <dgm:pt modelId="{0BAAEFA5-C766-4CF9-940B-86FD2954CFF2}" type="parTrans" cxnId="{8B708595-0298-41FB-B60F-5B39AA79690C}">
      <dgm:prSet/>
      <dgm:spPr/>
      <dgm:t>
        <a:bodyPr/>
        <a:lstStyle/>
        <a:p>
          <a:endParaRPr lang="ru-RU"/>
        </a:p>
      </dgm:t>
    </dgm:pt>
    <dgm:pt modelId="{DDFFBBA3-A2DC-4EE6-992C-F6C769755226}" type="sibTrans" cxnId="{8B708595-0298-41FB-B60F-5B39AA79690C}">
      <dgm:prSet/>
      <dgm:spPr/>
      <dgm:t>
        <a:bodyPr/>
        <a:lstStyle/>
        <a:p>
          <a:endParaRPr lang="ru-RU"/>
        </a:p>
      </dgm:t>
    </dgm:pt>
    <dgm:pt modelId="{FFFC03B8-EF7B-4712-80E3-D06E259EFB4E}">
      <dgm:prSet custT="1"/>
      <dgm:spPr/>
      <dgm:t>
        <a:bodyPr/>
        <a:lstStyle/>
        <a:p>
          <a:r>
            <a:rPr lang="ru-RU" sz="1400" dirty="0">
              <a:latin typeface="Century Gothic" pitchFamily="34" charset="0"/>
            </a:rPr>
            <a:t>АКТ</a:t>
          </a:r>
        </a:p>
      </dgm:t>
    </dgm:pt>
    <dgm:pt modelId="{9568C0CD-65A3-4651-9E64-ECC12254A591}" type="parTrans" cxnId="{31614629-319C-4FD5-AF81-2BC5AB8558FE}">
      <dgm:prSet/>
      <dgm:spPr/>
      <dgm:t>
        <a:bodyPr/>
        <a:lstStyle/>
        <a:p>
          <a:endParaRPr lang="ru-RU"/>
        </a:p>
      </dgm:t>
    </dgm:pt>
    <dgm:pt modelId="{8636D6B0-ED61-445D-BB9F-84F867E3E27C}" type="sibTrans" cxnId="{31614629-319C-4FD5-AF81-2BC5AB8558FE}">
      <dgm:prSet/>
      <dgm:spPr/>
      <dgm:t>
        <a:bodyPr/>
        <a:lstStyle/>
        <a:p>
          <a:endParaRPr lang="ru-RU"/>
        </a:p>
      </dgm:t>
    </dgm:pt>
    <dgm:pt modelId="{FE580542-FDD8-4BB1-8BAD-DC573A5D125C}">
      <dgm:prSet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Smart</a:t>
          </a:r>
          <a:r>
            <a:rPr lang="ru-RU" sz="1400" dirty="0">
              <a:latin typeface="Century Gothic" pitchFamily="34" charset="0"/>
            </a:rPr>
            <a:t> орта</a:t>
          </a:r>
        </a:p>
      </dgm:t>
    </dgm:pt>
    <dgm:pt modelId="{9C49E713-D150-4BE5-A48B-E2B44F660D6C}" type="parTrans" cxnId="{8154A535-D8B1-4671-A3D4-62E05D30EACD}">
      <dgm:prSet/>
      <dgm:spPr/>
      <dgm:t>
        <a:bodyPr/>
        <a:lstStyle/>
        <a:p>
          <a:endParaRPr lang="ru-RU"/>
        </a:p>
      </dgm:t>
    </dgm:pt>
    <dgm:pt modelId="{9B2D1BBF-1587-4FD4-AAEC-48F2B1301A63}" type="sibTrans" cxnId="{8154A535-D8B1-4671-A3D4-62E05D30EACD}">
      <dgm:prSet/>
      <dgm:spPr/>
      <dgm:t>
        <a:bodyPr/>
        <a:lstStyle/>
        <a:p>
          <a:endParaRPr lang="ru-RU"/>
        </a:p>
      </dgm:t>
    </dgm:pt>
    <dgm:pt modelId="{A21AD103-B6D3-44F1-8926-A9640242FC23}">
      <dgm:prSet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Smart</a:t>
          </a:r>
          <a:r>
            <a:rPr lang="ru-RU" sz="1400" dirty="0">
              <a:latin typeface="Century Gothic" pitchFamily="34" charset="0"/>
            </a:rPr>
            <a:t> экономика</a:t>
          </a:r>
        </a:p>
      </dgm:t>
    </dgm:pt>
    <dgm:pt modelId="{4374D5B3-3AB0-418E-9854-6179EE4F8588}" type="parTrans" cxnId="{595BC870-7C37-49E3-A9CD-040EDEEC8F72}">
      <dgm:prSet/>
      <dgm:spPr/>
      <dgm:t>
        <a:bodyPr/>
        <a:lstStyle/>
        <a:p>
          <a:endParaRPr lang="ru-RU"/>
        </a:p>
      </dgm:t>
    </dgm:pt>
    <dgm:pt modelId="{5BB254F2-944D-4F3D-8D23-7BE9B55F5FD0}" type="sibTrans" cxnId="{595BC870-7C37-49E3-A9CD-040EDEEC8F72}">
      <dgm:prSet/>
      <dgm:spPr/>
      <dgm:t>
        <a:bodyPr/>
        <a:lstStyle/>
        <a:p>
          <a:endParaRPr lang="ru-RU"/>
        </a:p>
      </dgm:t>
    </dgm:pt>
    <dgm:pt modelId="{5EE0BBEF-2698-4047-B164-A43D4B5E21D6}">
      <dgm:prSet/>
      <dgm:spPr/>
      <dgm:t>
        <a:bodyPr/>
        <a:lstStyle/>
        <a:p>
          <a:r>
            <a:rPr lang="en-US" dirty="0" err="1">
              <a:latin typeface="Century Gothic" pitchFamily="34" charset="0"/>
            </a:rPr>
            <a:t>Экология</a:t>
          </a:r>
          <a:endParaRPr lang="ru-RU" dirty="0">
            <a:latin typeface="Century Gothic" pitchFamily="34" charset="0"/>
          </a:endParaRPr>
        </a:p>
      </dgm:t>
    </dgm:pt>
    <dgm:pt modelId="{F010892C-61AA-43FD-94A6-38463A95D588}" type="parTrans" cxnId="{15036DB7-7DC6-40A5-A25F-4661FA543FE9}">
      <dgm:prSet/>
      <dgm:spPr/>
      <dgm:t>
        <a:bodyPr/>
        <a:lstStyle/>
        <a:p>
          <a:endParaRPr lang="ru-RU"/>
        </a:p>
      </dgm:t>
    </dgm:pt>
    <dgm:pt modelId="{EA95AA47-BB2A-4B49-AB52-24CE78FF3CF4}" type="sibTrans" cxnId="{15036DB7-7DC6-40A5-A25F-4661FA543FE9}">
      <dgm:prSet/>
      <dgm:spPr/>
      <dgm:t>
        <a:bodyPr/>
        <a:lstStyle/>
        <a:p>
          <a:endParaRPr lang="ru-RU"/>
        </a:p>
      </dgm:t>
    </dgm:pt>
    <dgm:pt modelId="{5991293F-66FE-47C0-A76A-3C26A59C832F}">
      <dgm:prSet/>
      <dgm:spPr/>
      <dgm:t>
        <a:bodyPr/>
        <a:lstStyle/>
        <a:p>
          <a:r>
            <a:rPr lang="ru-RU" dirty="0">
              <a:latin typeface="Century Gothic" pitchFamily="34" charset="0"/>
            </a:rPr>
            <a:t>ТҮКШ</a:t>
          </a:r>
        </a:p>
      </dgm:t>
    </dgm:pt>
    <dgm:pt modelId="{3110A61C-9F08-46F1-89DD-B09BD7069410}" type="parTrans" cxnId="{203603DF-4B40-467A-90D3-A9BDB53967D8}">
      <dgm:prSet/>
      <dgm:spPr/>
      <dgm:t>
        <a:bodyPr/>
        <a:lstStyle/>
        <a:p>
          <a:endParaRPr lang="ru-RU"/>
        </a:p>
      </dgm:t>
    </dgm:pt>
    <dgm:pt modelId="{A254D5FB-0983-43BD-8B6A-D21E909D18C5}" type="sibTrans" cxnId="{203603DF-4B40-467A-90D3-A9BDB53967D8}">
      <dgm:prSet/>
      <dgm:spPr/>
      <dgm:t>
        <a:bodyPr/>
        <a:lstStyle/>
        <a:p>
          <a:endParaRPr lang="ru-RU"/>
        </a:p>
      </dgm:t>
    </dgm:pt>
    <dgm:pt modelId="{F803187A-89E3-4DD9-9575-B1EADACAE089}">
      <dgm:prSet/>
      <dgm:spPr/>
      <dgm:t>
        <a:bodyPr/>
        <a:lstStyle/>
        <a:p>
          <a:r>
            <a:rPr lang="kk-KZ" dirty="0">
              <a:latin typeface="Century Gothic" pitchFamily="34" charset="0"/>
            </a:rPr>
            <a:t>Қ</a:t>
          </a:r>
          <a:r>
            <a:rPr lang="ru-RU" dirty="0" err="1">
              <a:latin typeface="Century Gothic" pitchFamily="34" charset="0"/>
            </a:rPr>
            <a:t>ұрылыс</a:t>
          </a:r>
          <a:r>
            <a:rPr lang="en-US" dirty="0">
              <a:latin typeface="Century Gothic" pitchFamily="34" charset="0"/>
            </a:rPr>
            <a:t> </a:t>
          </a:r>
          <a:endParaRPr lang="ru-RU" dirty="0">
            <a:latin typeface="Century Gothic" pitchFamily="34" charset="0"/>
          </a:endParaRPr>
        </a:p>
      </dgm:t>
    </dgm:pt>
    <dgm:pt modelId="{E4C3463F-9A62-4CE4-9775-76867AD967C2}" type="parTrans" cxnId="{B9D3665A-5F27-44A0-B23C-30271E35871F}">
      <dgm:prSet/>
      <dgm:spPr/>
      <dgm:t>
        <a:bodyPr/>
        <a:lstStyle/>
        <a:p>
          <a:endParaRPr lang="ru-RU"/>
        </a:p>
      </dgm:t>
    </dgm:pt>
    <dgm:pt modelId="{DD4BE249-FE43-47E3-AFD5-DDC9D0EC79DF}" type="sibTrans" cxnId="{B9D3665A-5F27-44A0-B23C-30271E35871F}">
      <dgm:prSet/>
      <dgm:spPr/>
      <dgm:t>
        <a:bodyPr/>
        <a:lstStyle/>
        <a:p>
          <a:endParaRPr lang="ru-RU"/>
        </a:p>
      </dgm:t>
    </dgm:pt>
    <dgm:pt modelId="{328F3B5F-3960-4A34-A2E1-07D3185BD68A}">
      <dgm:prSet custT="1"/>
      <dgm:spPr/>
      <dgm:t>
        <a:bodyPr/>
        <a:lstStyle/>
        <a:p>
          <a:r>
            <a:rPr lang="ru-RU" sz="1400" dirty="0" err="1">
              <a:latin typeface="Century Gothic" pitchFamily="34" charset="0"/>
            </a:rPr>
            <a:t>Smart</a:t>
          </a:r>
          <a:r>
            <a:rPr lang="ru-RU" sz="1400" dirty="0">
              <a:latin typeface="Century Gothic" pitchFamily="34" charset="0"/>
            </a:rPr>
            <a:t> </a:t>
          </a:r>
          <a:r>
            <a:rPr lang="ru-RU" sz="1400" dirty="0" err="1">
              <a:latin typeface="Century Gothic" pitchFamily="34" charset="0"/>
            </a:rPr>
            <a:t>басқармасы</a:t>
          </a:r>
          <a:endParaRPr lang="ru-RU" sz="1400" dirty="0">
            <a:latin typeface="Century Gothic" pitchFamily="34" charset="0"/>
          </a:endParaRPr>
        </a:p>
      </dgm:t>
    </dgm:pt>
    <dgm:pt modelId="{1A8C0963-17A0-4421-86A6-216B2EF5307A}" type="parTrans" cxnId="{0CB0CD41-8F1A-4424-A0C8-04A643DF8AC3}">
      <dgm:prSet/>
      <dgm:spPr/>
      <dgm:t>
        <a:bodyPr/>
        <a:lstStyle/>
        <a:p>
          <a:endParaRPr lang="ru-RU"/>
        </a:p>
      </dgm:t>
    </dgm:pt>
    <dgm:pt modelId="{C7A31157-3695-4912-A142-8F5D48AA039B}" type="sibTrans" cxnId="{0CB0CD41-8F1A-4424-A0C8-04A643DF8AC3}">
      <dgm:prSet/>
      <dgm:spPr/>
      <dgm:t>
        <a:bodyPr/>
        <a:lstStyle/>
        <a:p>
          <a:endParaRPr lang="ru-RU"/>
        </a:p>
      </dgm:t>
    </dgm:pt>
    <dgm:pt modelId="{EE6B434B-E1F2-440D-A3FD-4514E9702C84}">
      <dgm:prSet/>
      <dgm:spPr/>
      <dgm:t>
        <a:bodyPr/>
        <a:lstStyle/>
        <a:p>
          <a:r>
            <a:rPr lang="ru-RU" dirty="0" err="1">
              <a:latin typeface="Century Gothic" pitchFamily="34" charset="0"/>
            </a:rPr>
            <a:t>Қаланы</a:t>
          </a:r>
          <a:r>
            <a:rPr lang="ru-RU" dirty="0">
              <a:latin typeface="Century Gothic" pitchFamily="34" charset="0"/>
            </a:rPr>
            <a:t> </a:t>
          </a:r>
          <a:r>
            <a:rPr lang="ru-RU" dirty="0" err="1">
              <a:latin typeface="Century Gothic" pitchFamily="34" charset="0"/>
            </a:rPr>
            <a:t>басқару</a:t>
          </a:r>
          <a:endParaRPr lang="ru-RU" dirty="0">
            <a:latin typeface="Century Gothic" pitchFamily="34" charset="0"/>
          </a:endParaRPr>
        </a:p>
      </dgm:t>
    </dgm:pt>
    <dgm:pt modelId="{F81A12A2-F894-4936-A8AB-F60B3CDF7263}" type="parTrans" cxnId="{345F37B8-0F4C-433B-A00E-D6F305ADF2FE}">
      <dgm:prSet/>
      <dgm:spPr/>
      <dgm:t>
        <a:bodyPr/>
        <a:lstStyle/>
        <a:p>
          <a:endParaRPr lang="ru-RU"/>
        </a:p>
      </dgm:t>
    </dgm:pt>
    <dgm:pt modelId="{FD2931BE-881B-4AEA-BC24-465119E45E2F}" type="sibTrans" cxnId="{345F37B8-0F4C-433B-A00E-D6F305ADF2FE}">
      <dgm:prSet/>
      <dgm:spPr/>
      <dgm:t>
        <a:bodyPr/>
        <a:lstStyle/>
        <a:p>
          <a:endParaRPr lang="ru-RU"/>
        </a:p>
      </dgm:t>
    </dgm:pt>
    <dgm:pt modelId="{83779F6E-E433-4C08-9D30-F0DA559EBF6C}">
      <dgm:prSet custT="1"/>
      <dgm:spPr/>
      <dgm:t>
        <a:bodyPr/>
        <a:lstStyle/>
        <a:p>
          <a:r>
            <a:rPr lang="ru-RU" sz="1400" dirty="0">
              <a:latin typeface="Century Gothic" pitchFamily="34" charset="0"/>
            </a:rPr>
            <a:t>АКТ</a:t>
          </a:r>
        </a:p>
      </dgm:t>
    </dgm:pt>
    <dgm:pt modelId="{92F4E693-DB0F-4A18-9388-2440B0FDB24F}" type="parTrans" cxnId="{CAD6CF7B-AB90-4EF0-A546-E93563EF8C21}">
      <dgm:prSet/>
      <dgm:spPr/>
      <dgm:t>
        <a:bodyPr/>
        <a:lstStyle/>
        <a:p>
          <a:endParaRPr lang="ru-RU"/>
        </a:p>
      </dgm:t>
    </dgm:pt>
    <dgm:pt modelId="{05F38F18-F0D2-4C70-922C-C6CB40C599FA}" type="sibTrans" cxnId="{CAD6CF7B-AB90-4EF0-A546-E93563EF8C21}">
      <dgm:prSet/>
      <dgm:spPr/>
      <dgm:t>
        <a:bodyPr/>
        <a:lstStyle/>
        <a:p>
          <a:endParaRPr lang="ru-RU"/>
        </a:p>
      </dgm:t>
    </dgm:pt>
    <dgm:pt modelId="{D88D8626-B3B8-4F3D-B179-677C4CB86BCD}" type="pres">
      <dgm:prSet presAssocID="{1C80B70C-1D6B-40F0-88B1-8BC20FC88A86}" presName="Name0" presStyleCnt="0">
        <dgm:presLayoutVars>
          <dgm:dir/>
          <dgm:animLvl val="lvl"/>
          <dgm:resizeHandles val="exact"/>
        </dgm:presLayoutVars>
      </dgm:prSet>
      <dgm:spPr/>
    </dgm:pt>
    <dgm:pt modelId="{37AB9DCD-3117-448F-93D1-07336E9609B6}" type="pres">
      <dgm:prSet presAssocID="{FFFC03B8-EF7B-4712-80E3-D06E259EFB4E}" presName="boxAndChildren" presStyleCnt="0"/>
      <dgm:spPr/>
    </dgm:pt>
    <dgm:pt modelId="{35EFCDCD-D420-458B-893B-14DC6528CD35}" type="pres">
      <dgm:prSet presAssocID="{FFFC03B8-EF7B-4712-80E3-D06E259EFB4E}" presName="parentTextBox" presStyleLbl="node1" presStyleIdx="0" presStyleCnt="7"/>
      <dgm:spPr/>
    </dgm:pt>
    <dgm:pt modelId="{3D512254-7E10-4256-8BE9-5006635A8A0F}" type="pres">
      <dgm:prSet presAssocID="{FFFC03B8-EF7B-4712-80E3-D06E259EFB4E}" presName="entireBox" presStyleLbl="node1" presStyleIdx="0" presStyleCnt="7"/>
      <dgm:spPr/>
    </dgm:pt>
    <dgm:pt modelId="{E2FEC70D-E56E-44DB-BF6F-37066A61999E}" type="pres">
      <dgm:prSet presAssocID="{FFFC03B8-EF7B-4712-80E3-D06E259EFB4E}" presName="descendantBox" presStyleCnt="0"/>
      <dgm:spPr/>
    </dgm:pt>
    <dgm:pt modelId="{79BBD463-86E2-4D3D-ACFF-4B6FF3766F4E}" type="pres">
      <dgm:prSet presAssocID="{83779F6E-E433-4C08-9D30-F0DA559EBF6C}" presName="childTextBox" presStyleLbl="fgAccFollowNode1" presStyleIdx="0" presStyleCnt="12">
        <dgm:presLayoutVars>
          <dgm:bulletEnabled val="1"/>
        </dgm:presLayoutVars>
      </dgm:prSet>
      <dgm:spPr/>
    </dgm:pt>
    <dgm:pt modelId="{BD94E992-0BF8-4292-B84F-338806C36375}" type="pres">
      <dgm:prSet presAssocID="{C7A31157-3695-4912-A142-8F5D48AA039B}" presName="sp" presStyleCnt="0"/>
      <dgm:spPr/>
    </dgm:pt>
    <dgm:pt modelId="{B7FF0D04-514A-4074-8836-A20BED310887}" type="pres">
      <dgm:prSet presAssocID="{328F3B5F-3960-4A34-A2E1-07D3185BD68A}" presName="arrowAndChildren" presStyleCnt="0"/>
      <dgm:spPr/>
    </dgm:pt>
    <dgm:pt modelId="{2E5CE88E-B817-424C-8E8E-842D8CEE8726}" type="pres">
      <dgm:prSet presAssocID="{328F3B5F-3960-4A34-A2E1-07D3185BD68A}" presName="parentTextArrow" presStyleLbl="node1" presStyleIdx="0" presStyleCnt="7"/>
      <dgm:spPr/>
    </dgm:pt>
    <dgm:pt modelId="{B882AD1D-442C-4824-AD02-C16E3243BE6E}" type="pres">
      <dgm:prSet presAssocID="{328F3B5F-3960-4A34-A2E1-07D3185BD68A}" presName="arrow" presStyleLbl="node1" presStyleIdx="1" presStyleCnt="7"/>
      <dgm:spPr/>
    </dgm:pt>
    <dgm:pt modelId="{248424B7-D432-4BD8-8C39-B35021B11F8F}" type="pres">
      <dgm:prSet presAssocID="{328F3B5F-3960-4A34-A2E1-07D3185BD68A}" presName="descendantArrow" presStyleCnt="0"/>
      <dgm:spPr/>
    </dgm:pt>
    <dgm:pt modelId="{ADDEF7DC-247D-4665-886E-2A255E0AA654}" type="pres">
      <dgm:prSet presAssocID="{EE6B434B-E1F2-440D-A3FD-4514E9702C84}" presName="childTextArrow" presStyleLbl="fgAccFollowNode1" presStyleIdx="1" presStyleCnt="12">
        <dgm:presLayoutVars>
          <dgm:bulletEnabled val="1"/>
        </dgm:presLayoutVars>
      </dgm:prSet>
      <dgm:spPr/>
    </dgm:pt>
    <dgm:pt modelId="{80228EB4-A647-4E46-A0E2-93CFA15630F4}" type="pres">
      <dgm:prSet presAssocID="{5BB254F2-944D-4F3D-8D23-7BE9B55F5FD0}" presName="sp" presStyleCnt="0"/>
      <dgm:spPr/>
    </dgm:pt>
    <dgm:pt modelId="{A78AE1F9-FD39-45D9-AC41-F1E488E7BF7B}" type="pres">
      <dgm:prSet presAssocID="{A21AD103-B6D3-44F1-8926-A9640242FC23}" presName="arrowAndChildren" presStyleCnt="0"/>
      <dgm:spPr/>
    </dgm:pt>
    <dgm:pt modelId="{0E9BA600-CCA7-4A84-9DD5-6E23EB9DBD9D}" type="pres">
      <dgm:prSet presAssocID="{A21AD103-B6D3-44F1-8926-A9640242FC23}" presName="parentTextArrow" presStyleLbl="node1" presStyleIdx="1" presStyleCnt="7"/>
      <dgm:spPr/>
    </dgm:pt>
    <dgm:pt modelId="{4C5B5648-2FFA-4F88-88A7-A579AA1D44C3}" type="pres">
      <dgm:prSet presAssocID="{A21AD103-B6D3-44F1-8926-A9640242FC23}" presName="arrow" presStyleLbl="node1" presStyleIdx="2" presStyleCnt="7"/>
      <dgm:spPr/>
    </dgm:pt>
    <dgm:pt modelId="{18E3C787-3DBC-4F53-9749-2E1186E9943E}" type="pres">
      <dgm:prSet presAssocID="{A21AD103-B6D3-44F1-8926-A9640242FC23}" presName="descendantArrow" presStyleCnt="0"/>
      <dgm:spPr/>
    </dgm:pt>
    <dgm:pt modelId="{03CDDE24-D48D-412F-AF81-DA859B946190}" type="pres">
      <dgm:prSet presAssocID="{F803187A-89E3-4DD9-9575-B1EADACAE089}" presName="childTextArrow" presStyleLbl="fgAccFollowNode1" presStyleIdx="2" presStyleCnt="12">
        <dgm:presLayoutVars>
          <dgm:bulletEnabled val="1"/>
        </dgm:presLayoutVars>
      </dgm:prSet>
      <dgm:spPr/>
    </dgm:pt>
    <dgm:pt modelId="{27DD61C6-AEE9-431B-A195-EC7C230CFD3D}" type="pres">
      <dgm:prSet presAssocID="{9B2D1BBF-1587-4FD4-AAEC-48F2B1301A63}" presName="sp" presStyleCnt="0"/>
      <dgm:spPr/>
    </dgm:pt>
    <dgm:pt modelId="{3945AD16-A4B6-4A0F-A128-9A17289DEFCF}" type="pres">
      <dgm:prSet presAssocID="{FE580542-FDD8-4BB1-8BAD-DC573A5D125C}" presName="arrowAndChildren" presStyleCnt="0"/>
      <dgm:spPr/>
    </dgm:pt>
    <dgm:pt modelId="{67FED045-DD9B-47BE-BBD9-96C3D2C2E314}" type="pres">
      <dgm:prSet presAssocID="{FE580542-FDD8-4BB1-8BAD-DC573A5D125C}" presName="parentTextArrow" presStyleLbl="node1" presStyleIdx="2" presStyleCnt="7"/>
      <dgm:spPr/>
    </dgm:pt>
    <dgm:pt modelId="{CEC1BBCE-3FFF-48A4-97D6-6B62387708E4}" type="pres">
      <dgm:prSet presAssocID="{FE580542-FDD8-4BB1-8BAD-DC573A5D125C}" presName="arrow" presStyleLbl="node1" presStyleIdx="3" presStyleCnt="7"/>
      <dgm:spPr/>
    </dgm:pt>
    <dgm:pt modelId="{423FC406-2F40-4C1D-B682-BB1EE048ECBD}" type="pres">
      <dgm:prSet presAssocID="{FE580542-FDD8-4BB1-8BAD-DC573A5D125C}" presName="descendantArrow" presStyleCnt="0"/>
      <dgm:spPr/>
    </dgm:pt>
    <dgm:pt modelId="{E587725D-597C-4641-B161-382CD8E9500E}" type="pres">
      <dgm:prSet presAssocID="{5EE0BBEF-2698-4047-B164-A43D4B5E21D6}" presName="childTextArrow" presStyleLbl="fgAccFollowNode1" presStyleIdx="3" presStyleCnt="12">
        <dgm:presLayoutVars>
          <dgm:bulletEnabled val="1"/>
        </dgm:presLayoutVars>
      </dgm:prSet>
      <dgm:spPr/>
    </dgm:pt>
    <dgm:pt modelId="{C6E6B26A-1CB7-4F9D-85C5-71A92AE95A3E}" type="pres">
      <dgm:prSet presAssocID="{5991293F-66FE-47C0-A76A-3C26A59C832F}" presName="childTextArrow" presStyleLbl="fgAccFollowNode1" presStyleIdx="4" presStyleCnt="12">
        <dgm:presLayoutVars>
          <dgm:bulletEnabled val="1"/>
        </dgm:presLayoutVars>
      </dgm:prSet>
      <dgm:spPr/>
    </dgm:pt>
    <dgm:pt modelId="{4AC34484-6A09-494B-986C-DEAEC30B9CE2}" type="pres">
      <dgm:prSet presAssocID="{311ADB02-9BF4-45EB-8CEE-3ED2BDA61B9C}" presName="sp" presStyleCnt="0"/>
      <dgm:spPr/>
    </dgm:pt>
    <dgm:pt modelId="{374742DD-1EBA-4890-A3D1-87AEDE60D5FD}" type="pres">
      <dgm:prSet presAssocID="{7EB5FA39-5B26-46B4-8418-23C9EDD335F0}" presName="arrowAndChildren" presStyleCnt="0"/>
      <dgm:spPr/>
    </dgm:pt>
    <dgm:pt modelId="{6FFE548D-B276-4B19-A38B-6FE390762D5E}" type="pres">
      <dgm:prSet presAssocID="{7EB5FA39-5B26-46B4-8418-23C9EDD335F0}" presName="parentTextArrow" presStyleLbl="node1" presStyleIdx="3" presStyleCnt="7"/>
      <dgm:spPr/>
    </dgm:pt>
    <dgm:pt modelId="{09BB3D33-1908-457A-9933-9318642D578E}" type="pres">
      <dgm:prSet presAssocID="{7EB5FA39-5B26-46B4-8418-23C9EDD335F0}" presName="arrow" presStyleLbl="node1" presStyleIdx="4" presStyleCnt="7"/>
      <dgm:spPr/>
    </dgm:pt>
    <dgm:pt modelId="{32930F0A-2CB5-4415-8CDC-BC68F7B86A7E}" type="pres">
      <dgm:prSet presAssocID="{7EB5FA39-5B26-46B4-8418-23C9EDD335F0}" presName="descendantArrow" presStyleCnt="0"/>
      <dgm:spPr/>
    </dgm:pt>
    <dgm:pt modelId="{7564CB4B-CE6F-418A-8878-E2BF855E5F02}" type="pres">
      <dgm:prSet presAssocID="{85617185-9C42-4A86-92A2-9B326947814C}" presName="childTextArrow" presStyleLbl="fgAccFollowNode1" presStyleIdx="5" presStyleCnt="12">
        <dgm:presLayoutVars>
          <dgm:bulletEnabled val="1"/>
        </dgm:presLayoutVars>
      </dgm:prSet>
      <dgm:spPr/>
    </dgm:pt>
    <dgm:pt modelId="{923736A5-0554-4805-8B87-6EBA1B8AE1D4}" type="pres">
      <dgm:prSet presAssocID="{29B57011-2D63-4B0A-8518-DF2C4220A05E}" presName="childTextArrow" presStyleLbl="fgAccFollowNode1" presStyleIdx="6" presStyleCnt="12">
        <dgm:presLayoutVars>
          <dgm:bulletEnabled val="1"/>
        </dgm:presLayoutVars>
      </dgm:prSet>
      <dgm:spPr/>
    </dgm:pt>
    <dgm:pt modelId="{E689A08E-F328-4A1F-B1A9-4305D54CA0FC}" type="pres">
      <dgm:prSet presAssocID="{24DE7201-1DB2-4C5D-AD8A-7DAB7FE61B24}" presName="childTextArrow" presStyleLbl="fgAccFollowNode1" presStyleIdx="7" presStyleCnt="12" custScaleX="120725">
        <dgm:presLayoutVars>
          <dgm:bulletEnabled val="1"/>
        </dgm:presLayoutVars>
      </dgm:prSet>
      <dgm:spPr/>
    </dgm:pt>
    <dgm:pt modelId="{71F6998D-62AC-431A-94B4-A3B0AEF438DB}" type="pres">
      <dgm:prSet presAssocID="{61530767-9184-4515-AEF4-93FB159B1E5D}" presName="sp" presStyleCnt="0"/>
      <dgm:spPr/>
    </dgm:pt>
    <dgm:pt modelId="{ED2AA16D-BAFC-459C-BDB6-B23BD69E40F1}" type="pres">
      <dgm:prSet presAssocID="{02E6D80E-6181-4255-ACAB-F24A8276D681}" presName="arrowAndChildren" presStyleCnt="0"/>
      <dgm:spPr/>
    </dgm:pt>
    <dgm:pt modelId="{0F6412CB-8E8F-4EE1-A140-3E0CC4D8FD73}" type="pres">
      <dgm:prSet presAssocID="{02E6D80E-6181-4255-ACAB-F24A8276D681}" presName="parentTextArrow" presStyleLbl="node1" presStyleIdx="4" presStyleCnt="7"/>
      <dgm:spPr/>
    </dgm:pt>
    <dgm:pt modelId="{CF02A475-83B9-4B87-A861-D5FD0FAE3875}" type="pres">
      <dgm:prSet presAssocID="{02E6D80E-6181-4255-ACAB-F24A8276D681}" presName="arrow" presStyleLbl="node1" presStyleIdx="5" presStyleCnt="7"/>
      <dgm:spPr/>
    </dgm:pt>
    <dgm:pt modelId="{F8B37320-1D5A-4426-9CD5-00E7FD88C7AE}" type="pres">
      <dgm:prSet presAssocID="{02E6D80E-6181-4255-ACAB-F24A8276D681}" presName="descendantArrow" presStyleCnt="0"/>
      <dgm:spPr/>
    </dgm:pt>
    <dgm:pt modelId="{C9FDFBB0-7E03-4E2B-B8C6-7A09815087B1}" type="pres">
      <dgm:prSet presAssocID="{A003B787-4DEF-4CA3-92CD-BCA1B9C384C5}" presName="childTextArrow" presStyleLbl="fgAccFollowNode1" presStyleIdx="8" presStyleCnt="12">
        <dgm:presLayoutVars>
          <dgm:bulletEnabled val="1"/>
        </dgm:presLayoutVars>
      </dgm:prSet>
      <dgm:spPr/>
    </dgm:pt>
    <dgm:pt modelId="{2476BD48-9882-4A97-A988-BF904769F18D}" type="pres">
      <dgm:prSet presAssocID="{6EAED507-CBC5-4BCE-95CC-4A9161D5E06E}" presName="childTextArrow" presStyleLbl="fgAccFollowNode1" presStyleIdx="9" presStyleCnt="12">
        <dgm:presLayoutVars>
          <dgm:bulletEnabled val="1"/>
        </dgm:presLayoutVars>
      </dgm:prSet>
      <dgm:spPr/>
    </dgm:pt>
    <dgm:pt modelId="{647E3A8A-E924-4BA2-8DBF-623519601764}" type="pres">
      <dgm:prSet presAssocID="{17B76004-4E58-45F4-8989-B182CBEFDD83}" presName="sp" presStyleCnt="0"/>
      <dgm:spPr/>
    </dgm:pt>
    <dgm:pt modelId="{724F8ADE-014E-45A3-BB0C-8D4ADB3AA96B}" type="pres">
      <dgm:prSet presAssocID="{EA4AD045-4F63-4765-9AB5-6B93EA8F8545}" presName="arrowAndChildren" presStyleCnt="0"/>
      <dgm:spPr/>
    </dgm:pt>
    <dgm:pt modelId="{DFAAA7A9-8957-451D-9393-F58D6B78157E}" type="pres">
      <dgm:prSet presAssocID="{EA4AD045-4F63-4765-9AB5-6B93EA8F8545}" presName="parentTextArrow" presStyleLbl="node1" presStyleIdx="5" presStyleCnt="7"/>
      <dgm:spPr/>
    </dgm:pt>
    <dgm:pt modelId="{EB679680-C82E-4D88-BA0D-A5EEBEB472C9}" type="pres">
      <dgm:prSet presAssocID="{EA4AD045-4F63-4765-9AB5-6B93EA8F8545}" presName="arrow" presStyleLbl="node1" presStyleIdx="6" presStyleCnt="7" custLinFactNeighborX="-198" custLinFactNeighborY="3199"/>
      <dgm:spPr/>
    </dgm:pt>
    <dgm:pt modelId="{56D4706F-82D3-47CA-9424-9A09F0DEC843}" type="pres">
      <dgm:prSet presAssocID="{EA4AD045-4F63-4765-9AB5-6B93EA8F8545}" presName="descendantArrow" presStyleCnt="0"/>
      <dgm:spPr/>
    </dgm:pt>
    <dgm:pt modelId="{A82539E0-09AB-4EC8-84CD-3C29FD27F970}" type="pres">
      <dgm:prSet presAssocID="{40CF3A67-EE48-45CE-8CEF-3C51D25BF0FF}" presName="childTextArrow" presStyleLbl="fgAccFollowNode1" presStyleIdx="10" presStyleCnt="12">
        <dgm:presLayoutVars>
          <dgm:bulletEnabled val="1"/>
        </dgm:presLayoutVars>
      </dgm:prSet>
      <dgm:spPr/>
    </dgm:pt>
    <dgm:pt modelId="{19AD92BA-D170-448D-A061-490ECE3E506B}" type="pres">
      <dgm:prSet presAssocID="{6495BAEB-10EC-4592-8FC3-B49E9CA998E2}" presName="childTextArrow" presStyleLbl="fgAccFollowNode1" presStyleIdx="11" presStyleCnt="12">
        <dgm:presLayoutVars>
          <dgm:bulletEnabled val="1"/>
        </dgm:presLayoutVars>
      </dgm:prSet>
      <dgm:spPr/>
    </dgm:pt>
  </dgm:ptLst>
  <dgm:cxnLst>
    <dgm:cxn modelId="{1F1D9702-F9F9-4B84-9833-A983BF111E82}" type="presOf" srcId="{EA4AD045-4F63-4765-9AB5-6B93EA8F8545}" destId="{EB679680-C82E-4D88-BA0D-A5EEBEB472C9}" srcOrd="1" destOrd="0" presId="urn:microsoft.com/office/officeart/2005/8/layout/process4"/>
    <dgm:cxn modelId="{E1AC5F04-1A98-46F4-8E6D-ABEBA17DFB6C}" type="presOf" srcId="{328F3B5F-3960-4A34-A2E1-07D3185BD68A}" destId="{B882AD1D-442C-4824-AD02-C16E3243BE6E}" srcOrd="1" destOrd="0" presId="urn:microsoft.com/office/officeart/2005/8/layout/process4"/>
    <dgm:cxn modelId="{04F3A00E-A161-4079-809D-27CDE45C4BEF}" srcId="{EA4AD045-4F63-4765-9AB5-6B93EA8F8545}" destId="{40CF3A67-EE48-45CE-8CEF-3C51D25BF0FF}" srcOrd="0" destOrd="0" parTransId="{0EF080AE-545B-49C5-8D80-B698F1844163}" sibTransId="{0BFC6363-CCED-4497-BF42-416615545A75}"/>
    <dgm:cxn modelId="{7BF30116-9BD8-402E-916A-02913DDDC46C}" type="presOf" srcId="{5EE0BBEF-2698-4047-B164-A43D4B5E21D6}" destId="{E587725D-597C-4641-B161-382CD8E9500E}" srcOrd="0" destOrd="0" presId="urn:microsoft.com/office/officeart/2005/8/layout/process4"/>
    <dgm:cxn modelId="{D7F2601B-DBD4-4E94-A0E7-E7B3379F7386}" type="presOf" srcId="{A003B787-4DEF-4CA3-92CD-BCA1B9C384C5}" destId="{C9FDFBB0-7E03-4E2B-B8C6-7A09815087B1}" srcOrd="0" destOrd="0" presId="urn:microsoft.com/office/officeart/2005/8/layout/process4"/>
    <dgm:cxn modelId="{31614629-319C-4FD5-AF81-2BC5AB8558FE}" srcId="{1C80B70C-1D6B-40F0-88B1-8BC20FC88A86}" destId="{FFFC03B8-EF7B-4712-80E3-D06E259EFB4E}" srcOrd="6" destOrd="0" parTransId="{9568C0CD-65A3-4651-9E64-ECC12254A591}" sibTransId="{8636D6B0-ED61-445D-BB9F-84F867E3E27C}"/>
    <dgm:cxn modelId="{A1F77C2D-409D-42DD-859C-E6A7A9678C4B}" type="presOf" srcId="{FFFC03B8-EF7B-4712-80E3-D06E259EFB4E}" destId="{3D512254-7E10-4256-8BE9-5006635A8A0F}" srcOrd="1" destOrd="0" presId="urn:microsoft.com/office/officeart/2005/8/layout/process4"/>
    <dgm:cxn modelId="{597D6931-53FC-4E4D-B3EF-C6682C814055}" type="presOf" srcId="{24DE7201-1DB2-4C5D-AD8A-7DAB7FE61B24}" destId="{E689A08E-F328-4A1F-B1A9-4305D54CA0FC}" srcOrd="0" destOrd="0" presId="urn:microsoft.com/office/officeart/2005/8/layout/process4"/>
    <dgm:cxn modelId="{8154A535-D8B1-4671-A3D4-62E05D30EACD}" srcId="{1C80B70C-1D6B-40F0-88B1-8BC20FC88A86}" destId="{FE580542-FDD8-4BB1-8BAD-DC573A5D125C}" srcOrd="3" destOrd="0" parTransId="{9C49E713-D150-4BE5-A48B-E2B44F660D6C}" sibTransId="{9B2D1BBF-1587-4FD4-AAEC-48F2B1301A63}"/>
    <dgm:cxn modelId="{4524FA39-24D6-471E-B2DF-829C9E7F7C8D}" type="presOf" srcId="{85617185-9C42-4A86-92A2-9B326947814C}" destId="{7564CB4B-CE6F-418A-8878-E2BF855E5F02}" srcOrd="0" destOrd="0" presId="urn:microsoft.com/office/officeart/2005/8/layout/process4"/>
    <dgm:cxn modelId="{394B363F-9CC3-410E-BAFB-F8A0FFAA7AF9}" type="presOf" srcId="{A21AD103-B6D3-44F1-8926-A9640242FC23}" destId="{0E9BA600-CCA7-4A84-9DD5-6E23EB9DBD9D}" srcOrd="0" destOrd="0" presId="urn:microsoft.com/office/officeart/2005/8/layout/process4"/>
    <dgm:cxn modelId="{5BD7565B-BA21-4B00-84ED-DB1E77DCC918}" type="presOf" srcId="{1C80B70C-1D6B-40F0-88B1-8BC20FC88A86}" destId="{D88D8626-B3B8-4F3D-B179-677C4CB86BCD}" srcOrd="0" destOrd="0" presId="urn:microsoft.com/office/officeart/2005/8/layout/process4"/>
    <dgm:cxn modelId="{D68F3761-6CD9-4C68-84FC-4F7FCEFCA601}" srcId="{7EB5FA39-5B26-46B4-8418-23C9EDD335F0}" destId="{85617185-9C42-4A86-92A2-9B326947814C}" srcOrd="0" destOrd="0" parTransId="{BB0445A5-1E27-490E-840F-0C14E1E4B355}" sibTransId="{93551C12-0AD8-4B74-AA9C-749ED081FDA8}"/>
    <dgm:cxn modelId="{0CB0CD41-8F1A-4424-A0C8-04A643DF8AC3}" srcId="{1C80B70C-1D6B-40F0-88B1-8BC20FC88A86}" destId="{328F3B5F-3960-4A34-A2E1-07D3185BD68A}" srcOrd="5" destOrd="0" parTransId="{1A8C0963-17A0-4421-86A6-216B2EF5307A}" sibTransId="{C7A31157-3695-4912-A142-8F5D48AA039B}"/>
    <dgm:cxn modelId="{21A1F869-CEDF-4246-AB69-60FFA9DDCEDE}" srcId="{1C80B70C-1D6B-40F0-88B1-8BC20FC88A86}" destId="{7EB5FA39-5B26-46B4-8418-23C9EDD335F0}" srcOrd="2" destOrd="0" parTransId="{53AD72DD-7286-4581-A3E7-16B939B336F6}" sibTransId="{311ADB02-9BF4-45EB-8CEE-3ED2BDA61B9C}"/>
    <dgm:cxn modelId="{E71CF14A-F899-46F5-98B8-ED859EB97AA0}" type="presOf" srcId="{FE580542-FDD8-4BB1-8BAD-DC573A5D125C}" destId="{67FED045-DD9B-47BE-BBD9-96C3D2C2E314}" srcOrd="0" destOrd="0" presId="urn:microsoft.com/office/officeart/2005/8/layout/process4"/>
    <dgm:cxn modelId="{595BC870-7C37-49E3-A9CD-040EDEEC8F72}" srcId="{1C80B70C-1D6B-40F0-88B1-8BC20FC88A86}" destId="{A21AD103-B6D3-44F1-8926-A9640242FC23}" srcOrd="4" destOrd="0" parTransId="{4374D5B3-3AB0-418E-9854-6179EE4F8588}" sibTransId="{5BB254F2-944D-4F3D-8D23-7BE9B55F5FD0}"/>
    <dgm:cxn modelId="{2BD12652-CC1B-42BC-9F90-6262A8E29DDD}" type="presOf" srcId="{83779F6E-E433-4C08-9D30-F0DA559EBF6C}" destId="{79BBD463-86E2-4D3D-ACFF-4B6FF3766F4E}" srcOrd="0" destOrd="0" presId="urn:microsoft.com/office/officeart/2005/8/layout/process4"/>
    <dgm:cxn modelId="{B5F45058-14BF-4F39-BEAD-B014F7B3772F}" type="presOf" srcId="{FE580542-FDD8-4BB1-8BAD-DC573A5D125C}" destId="{CEC1BBCE-3FFF-48A4-97D6-6B62387708E4}" srcOrd="1" destOrd="0" presId="urn:microsoft.com/office/officeart/2005/8/layout/process4"/>
    <dgm:cxn modelId="{2DCB9558-067F-48A9-9139-519AEF80D153}" type="presOf" srcId="{328F3B5F-3960-4A34-A2E1-07D3185BD68A}" destId="{2E5CE88E-B817-424C-8E8E-842D8CEE8726}" srcOrd="0" destOrd="0" presId="urn:microsoft.com/office/officeart/2005/8/layout/process4"/>
    <dgm:cxn modelId="{B9D3665A-5F27-44A0-B23C-30271E35871F}" srcId="{A21AD103-B6D3-44F1-8926-A9640242FC23}" destId="{F803187A-89E3-4DD9-9575-B1EADACAE089}" srcOrd="0" destOrd="0" parTransId="{E4C3463F-9A62-4CE4-9775-76867AD967C2}" sibTransId="{DD4BE249-FE43-47E3-AFD5-DDC9D0EC79DF}"/>
    <dgm:cxn modelId="{B69B157B-AD0F-4526-A9F5-E654B27D4A20}" type="presOf" srcId="{7EB5FA39-5B26-46B4-8418-23C9EDD335F0}" destId="{09BB3D33-1908-457A-9933-9318642D578E}" srcOrd="1" destOrd="0" presId="urn:microsoft.com/office/officeart/2005/8/layout/process4"/>
    <dgm:cxn modelId="{CAD6CF7B-AB90-4EF0-A546-E93563EF8C21}" srcId="{FFFC03B8-EF7B-4712-80E3-D06E259EFB4E}" destId="{83779F6E-E433-4C08-9D30-F0DA559EBF6C}" srcOrd="0" destOrd="0" parTransId="{92F4E693-DB0F-4A18-9388-2440B0FDB24F}" sibTransId="{05F38F18-F0D2-4C70-922C-C6CB40C599FA}"/>
    <dgm:cxn modelId="{ABEDAB7D-10E7-4087-9F93-80ED890E208A}" srcId="{02E6D80E-6181-4255-ACAB-F24A8276D681}" destId="{6EAED507-CBC5-4BCE-95CC-4A9161D5E06E}" srcOrd="1" destOrd="0" parTransId="{EF470339-68A2-45C8-BD22-68AE2EA228F5}" sibTransId="{16F991CA-AE51-45BD-B4B9-C1DD9BF86E56}"/>
    <dgm:cxn modelId="{22F69D7F-4CAC-4B53-A6AE-F3975CA7FC2B}" type="presOf" srcId="{F803187A-89E3-4DD9-9575-B1EADACAE089}" destId="{03CDDE24-D48D-412F-AF81-DA859B946190}" srcOrd="0" destOrd="0" presId="urn:microsoft.com/office/officeart/2005/8/layout/process4"/>
    <dgm:cxn modelId="{71E8CA80-1378-4AF9-A26F-67670E47160A}" srcId="{1C80B70C-1D6B-40F0-88B1-8BC20FC88A86}" destId="{EA4AD045-4F63-4765-9AB5-6B93EA8F8545}" srcOrd="0" destOrd="0" parTransId="{C3BB85F6-5696-427C-8ADE-326E7FD6A557}" sibTransId="{17B76004-4E58-45F4-8989-B182CBEFDD83}"/>
    <dgm:cxn modelId="{13F98F89-D8DD-40E1-90A7-184669CF6BF3}" type="presOf" srcId="{7EB5FA39-5B26-46B4-8418-23C9EDD335F0}" destId="{6FFE548D-B276-4B19-A38B-6FE390762D5E}" srcOrd="0" destOrd="0" presId="urn:microsoft.com/office/officeart/2005/8/layout/process4"/>
    <dgm:cxn modelId="{1FFE2490-4C1B-4F12-9671-4B25189593D7}" srcId="{7EB5FA39-5B26-46B4-8418-23C9EDD335F0}" destId="{29B57011-2D63-4B0A-8518-DF2C4220A05E}" srcOrd="1" destOrd="0" parTransId="{61F32D4C-E715-4D64-9105-C17745271EEA}" sibTransId="{6A8245B8-7498-468E-AC41-F083C81BB644}"/>
    <dgm:cxn modelId="{8B708595-0298-41FB-B60F-5B39AA79690C}" srcId="{7EB5FA39-5B26-46B4-8418-23C9EDD335F0}" destId="{24DE7201-1DB2-4C5D-AD8A-7DAB7FE61B24}" srcOrd="2" destOrd="0" parTransId="{0BAAEFA5-C766-4CF9-940B-86FD2954CFF2}" sibTransId="{DDFFBBA3-A2DC-4EE6-992C-F6C769755226}"/>
    <dgm:cxn modelId="{4AB8A697-BDDD-42B6-9F0A-FDCC66873CD6}" type="presOf" srcId="{A21AD103-B6D3-44F1-8926-A9640242FC23}" destId="{4C5B5648-2FFA-4F88-88A7-A579AA1D44C3}" srcOrd="1" destOrd="0" presId="urn:microsoft.com/office/officeart/2005/8/layout/process4"/>
    <dgm:cxn modelId="{2F73169A-F546-480B-BFFD-A71EEAACDBC6}" type="presOf" srcId="{6EAED507-CBC5-4BCE-95CC-4A9161D5E06E}" destId="{2476BD48-9882-4A97-A988-BF904769F18D}" srcOrd="0" destOrd="0" presId="urn:microsoft.com/office/officeart/2005/8/layout/process4"/>
    <dgm:cxn modelId="{178B68A3-AE03-4516-8C28-C0D3B3C36689}" srcId="{02E6D80E-6181-4255-ACAB-F24A8276D681}" destId="{A003B787-4DEF-4CA3-92CD-BCA1B9C384C5}" srcOrd="0" destOrd="0" parTransId="{CF710DED-0126-4304-A9F5-C0DA20330F04}" sibTransId="{CED3F851-DDF6-44D9-9E1B-7612A142C1C3}"/>
    <dgm:cxn modelId="{15036DB7-7DC6-40A5-A25F-4661FA543FE9}" srcId="{FE580542-FDD8-4BB1-8BAD-DC573A5D125C}" destId="{5EE0BBEF-2698-4047-B164-A43D4B5E21D6}" srcOrd="0" destOrd="0" parTransId="{F010892C-61AA-43FD-94A6-38463A95D588}" sibTransId="{EA95AA47-BB2A-4B49-AB52-24CE78FF3CF4}"/>
    <dgm:cxn modelId="{345F37B8-0F4C-433B-A00E-D6F305ADF2FE}" srcId="{328F3B5F-3960-4A34-A2E1-07D3185BD68A}" destId="{EE6B434B-E1F2-440D-A3FD-4514E9702C84}" srcOrd="0" destOrd="0" parTransId="{F81A12A2-F894-4936-A8AB-F60B3CDF7263}" sibTransId="{FD2931BE-881B-4AEA-BC24-465119E45E2F}"/>
    <dgm:cxn modelId="{892CC4BB-B1A5-4D61-9CEE-91C9ABF9B16A}" type="presOf" srcId="{5991293F-66FE-47C0-A76A-3C26A59C832F}" destId="{C6E6B26A-1CB7-4F9D-85C5-71A92AE95A3E}" srcOrd="0" destOrd="0" presId="urn:microsoft.com/office/officeart/2005/8/layout/process4"/>
    <dgm:cxn modelId="{521A8FBC-CD0D-45D0-B8E8-E5E628768C4C}" srcId="{1C80B70C-1D6B-40F0-88B1-8BC20FC88A86}" destId="{02E6D80E-6181-4255-ACAB-F24A8276D681}" srcOrd="1" destOrd="0" parTransId="{31394B84-0508-441E-B1DE-3FE0270BB039}" sibTransId="{61530767-9184-4515-AEF4-93FB159B1E5D}"/>
    <dgm:cxn modelId="{AC90B2BE-5F71-453C-A870-5BDEE5D68CE7}" type="presOf" srcId="{29B57011-2D63-4B0A-8518-DF2C4220A05E}" destId="{923736A5-0554-4805-8B87-6EBA1B8AE1D4}" srcOrd="0" destOrd="0" presId="urn:microsoft.com/office/officeart/2005/8/layout/process4"/>
    <dgm:cxn modelId="{61B28AC1-65B9-415A-B918-CC3665750B4E}" type="presOf" srcId="{02E6D80E-6181-4255-ACAB-F24A8276D681}" destId="{CF02A475-83B9-4B87-A861-D5FD0FAE3875}" srcOrd="1" destOrd="0" presId="urn:microsoft.com/office/officeart/2005/8/layout/process4"/>
    <dgm:cxn modelId="{3D4485C2-F1B1-4F12-BA55-C5494B852DED}" type="presOf" srcId="{40CF3A67-EE48-45CE-8CEF-3C51D25BF0FF}" destId="{A82539E0-09AB-4EC8-84CD-3C29FD27F970}" srcOrd="0" destOrd="0" presId="urn:microsoft.com/office/officeart/2005/8/layout/process4"/>
    <dgm:cxn modelId="{D54224C8-FB3C-42B6-A938-168A993B32BA}" srcId="{EA4AD045-4F63-4765-9AB5-6B93EA8F8545}" destId="{6495BAEB-10EC-4592-8FC3-B49E9CA998E2}" srcOrd="1" destOrd="0" parTransId="{2F6ECB18-0580-4C8B-9B41-FA6E0E4806D4}" sibTransId="{346B9F0B-B726-448A-9E4E-65092CB8F14C}"/>
    <dgm:cxn modelId="{72AED4CD-DC9D-448E-890C-C0BC1CA68A70}" type="presOf" srcId="{EE6B434B-E1F2-440D-A3FD-4514E9702C84}" destId="{ADDEF7DC-247D-4665-886E-2A255E0AA654}" srcOrd="0" destOrd="0" presId="urn:microsoft.com/office/officeart/2005/8/layout/process4"/>
    <dgm:cxn modelId="{1D06E3D5-8C8E-4BE0-97DF-9BC7CB404B82}" type="presOf" srcId="{EA4AD045-4F63-4765-9AB5-6B93EA8F8545}" destId="{DFAAA7A9-8957-451D-9393-F58D6B78157E}" srcOrd="0" destOrd="0" presId="urn:microsoft.com/office/officeart/2005/8/layout/process4"/>
    <dgm:cxn modelId="{6084C6DB-14A8-47F2-BC75-AC787ABCDE1D}" type="presOf" srcId="{6495BAEB-10EC-4592-8FC3-B49E9CA998E2}" destId="{19AD92BA-D170-448D-A061-490ECE3E506B}" srcOrd="0" destOrd="0" presId="urn:microsoft.com/office/officeart/2005/8/layout/process4"/>
    <dgm:cxn modelId="{C55C77DD-46CA-45D1-9CBF-5B68E9655532}" type="presOf" srcId="{FFFC03B8-EF7B-4712-80E3-D06E259EFB4E}" destId="{35EFCDCD-D420-458B-893B-14DC6528CD35}" srcOrd="0" destOrd="0" presId="urn:microsoft.com/office/officeart/2005/8/layout/process4"/>
    <dgm:cxn modelId="{203603DF-4B40-467A-90D3-A9BDB53967D8}" srcId="{FE580542-FDD8-4BB1-8BAD-DC573A5D125C}" destId="{5991293F-66FE-47C0-A76A-3C26A59C832F}" srcOrd="1" destOrd="0" parTransId="{3110A61C-9F08-46F1-89DD-B09BD7069410}" sibTransId="{A254D5FB-0983-43BD-8B6A-D21E909D18C5}"/>
    <dgm:cxn modelId="{A405B6FA-E412-4D63-BC59-5AC19A3DB778}" type="presOf" srcId="{02E6D80E-6181-4255-ACAB-F24A8276D681}" destId="{0F6412CB-8E8F-4EE1-A140-3E0CC4D8FD73}" srcOrd="0" destOrd="0" presId="urn:microsoft.com/office/officeart/2005/8/layout/process4"/>
    <dgm:cxn modelId="{07407B78-0B61-48D1-B69D-AB1E57F50F4A}" type="presParOf" srcId="{D88D8626-B3B8-4F3D-B179-677C4CB86BCD}" destId="{37AB9DCD-3117-448F-93D1-07336E9609B6}" srcOrd="0" destOrd="0" presId="urn:microsoft.com/office/officeart/2005/8/layout/process4"/>
    <dgm:cxn modelId="{9A4FD247-9EF1-4ABD-989C-B221A640CF04}" type="presParOf" srcId="{37AB9DCD-3117-448F-93D1-07336E9609B6}" destId="{35EFCDCD-D420-458B-893B-14DC6528CD35}" srcOrd="0" destOrd="0" presId="urn:microsoft.com/office/officeart/2005/8/layout/process4"/>
    <dgm:cxn modelId="{0A277D2B-3839-4956-BE91-89CBAD5B71DE}" type="presParOf" srcId="{37AB9DCD-3117-448F-93D1-07336E9609B6}" destId="{3D512254-7E10-4256-8BE9-5006635A8A0F}" srcOrd="1" destOrd="0" presId="urn:microsoft.com/office/officeart/2005/8/layout/process4"/>
    <dgm:cxn modelId="{C9455BDC-03D2-4CA5-8E7B-895F6F2F493B}" type="presParOf" srcId="{37AB9DCD-3117-448F-93D1-07336E9609B6}" destId="{E2FEC70D-E56E-44DB-BF6F-37066A61999E}" srcOrd="2" destOrd="0" presId="urn:microsoft.com/office/officeart/2005/8/layout/process4"/>
    <dgm:cxn modelId="{C276EEE4-B5B0-448F-BF39-D2529C5AFFE8}" type="presParOf" srcId="{E2FEC70D-E56E-44DB-BF6F-37066A61999E}" destId="{79BBD463-86E2-4D3D-ACFF-4B6FF3766F4E}" srcOrd="0" destOrd="0" presId="urn:microsoft.com/office/officeart/2005/8/layout/process4"/>
    <dgm:cxn modelId="{B47C1936-3B3C-4658-B5EC-4AFEAB62ADAF}" type="presParOf" srcId="{D88D8626-B3B8-4F3D-B179-677C4CB86BCD}" destId="{BD94E992-0BF8-4292-B84F-338806C36375}" srcOrd="1" destOrd="0" presId="urn:microsoft.com/office/officeart/2005/8/layout/process4"/>
    <dgm:cxn modelId="{8729B5C6-6473-4810-A138-D26D63CB6935}" type="presParOf" srcId="{D88D8626-B3B8-4F3D-B179-677C4CB86BCD}" destId="{B7FF0D04-514A-4074-8836-A20BED310887}" srcOrd="2" destOrd="0" presId="urn:microsoft.com/office/officeart/2005/8/layout/process4"/>
    <dgm:cxn modelId="{FA7DB85E-06FC-4BF1-B5E3-F918CAB26225}" type="presParOf" srcId="{B7FF0D04-514A-4074-8836-A20BED310887}" destId="{2E5CE88E-B817-424C-8E8E-842D8CEE8726}" srcOrd="0" destOrd="0" presId="urn:microsoft.com/office/officeart/2005/8/layout/process4"/>
    <dgm:cxn modelId="{0DEDA6D0-BE28-453B-8CF1-75FD9D555744}" type="presParOf" srcId="{B7FF0D04-514A-4074-8836-A20BED310887}" destId="{B882AD1D-442C-4824-AD02-C16E3243BE6E}" srcOrd="1" destOrd="0" presId="urn:microsoft.com/office/officeart/2005/8/layout/process4"/>
    <dgm:cxn modelId="{2EBB5FFE-11F2-408A-9EA2-1945BF1E1268}" type="presParOf" srcId="{B7FF0D04-514A-4074-8836-A20BED310887}" destId="{248424B7-D432-4BD8-8C39-B35021B11F8F}" srcOrd="2" destOrd="0" presId="urn:microsoft.com/office/officeart/2005/8/layout/process4"/>
    <dgm:cxn modelId="{C80216BA-3A70-486B-8F03-C07911C00630}" type="presParOf" srcId="{248424B7-D432-4BD8-8C39-B35021B11F8F}" destId="{ADDEF7DC-247D-4665-886E-2A255E0AA654}" srcOrd="0" destOrd="0" presId="urn:microsoft.com/office/officeart/2005/8/layout/process4"/>
    <dgm:cxn modelId="{7A449C10-FCEF-443E-AB50-49AA03A66810}" type="presParOf" srcId="{D88D8626-B3B8-4F3D-B179-677C4CB86BCD}" destId="{80228EB4-A647-4E46-A0E2-93CFA15630F4}" srcOrd="3" destOrd="0" presId="urn:microsoft.com/office/officeart/2005/8/layout/process4"/>
    <dgm:cxn modelId="{7875D665-8A16-48B8-94CC-33F8905E0E93}" type="presParOf" srcId="{D88D8626-B3B8-4F3D-B179-677C4CB86BCD}" destId="{A78AE1F9-FD39-45D9-AC41-F1E488E7BF7B}" srcOrd="4" destOrd="0" presId="urn:microsoft.com/office/officeart/2005/8/layout/process4"/>
    <dgm:cxn modelId="{8FA307EE-0F2D-4900-88A7-81F2FD72F616}" type="presParOf" srcId="{A78AE1F9-FD39-45D9-AC41-F1E488E7BF7B}" destId="{0E9BA600-CCA7-4A84-9DD5-6E23EB9DBD9D}" srcOrd="0" destOrd="0" presId="urn:microsoft.com/office/officeart/2005/8/layout/process4"/>
    <dgm:cxn modelId="{682BE135-9AB9-474F-AFCD-107672D9C506}" type="presParOf" srcId="{A78AE1F9-FD39-45D9-AC41-F1E488E7BF7B}" destId="{4C5B5648-2FFA-4F88-88A7-A579AA1D44C3}" srcOrd="1" destOrd="0" presId="urn:microsoft.com/office/officeart/2005/8/layout/process4"/>
    <dgm:cxn modelId="{3503F5AA-CAF4-49C5-8FBC-77DCFD7D87A9}" type="presParOf" srcId="{A78AE1F9-FD39-45D9-AC41-F1E488E7BF7B}" destId="{18E3C787-3DBC-4F53-9749-2E1186E9943E}" srcOrd="2" destOrd="0" presId="urn:microsoft.com/office/officeart/2005/8/layout/process4"/>
    <dgm:cxn modelId="{428A799A-4240-46C7-9118-F00AA5B01FB0}" type="presParOf" srcId="{18E3C787-3DBC-4F53-9749-2E1186E9943E}" destId="{03CDDE24-D48D-412F-AF81-DA859B946190}" srcOrd="0" destOrd="0" presId="urn:microsoft.com/office/officeart/2005/8/layout/process4"/>
    <dgm:cxn modelId="{0CD992CC-E197-4147-B4BF-57BED4C6AF73}" type="presParOf" srcId="{D88D8626-B3B8-4F3D-B179-677C4CB86BCD}" destId="{27DD61C6-AEE9-431B-A195-EC7C230CFD3D}" srcOrd="5" destOrd="0" presId="urn:microsoft.com/office/officeart/2005/8/layout/process4"/>
    <dgm:cxn modelId="{5334A6A6-0B41-4FA1-9329-853896D78066}" type="presParOf" srcId="{D88D8626-B3B8-4F3D-B179-677C4CB86BCD}" destId="{3945AD16-A4B6-4A0F-A128-9A17289DEFCF}" srcOrd="6" destOrd="0" presId="urn:microsoft.com/office/officeart/2005/8/layout/process4"/>
    <dgm:cxn modelId="{869C6718-6F1B-4674-AFAD-7F99B1B1094D}" type="presParOf" srcId="{3945AD16-A4B6-4A0F-A128-9A17289DEFCF}" destId="{67FED045-DD9B-47BE-BBD9-96C3D2C2E314}" srcOrd="0" destOrd="0" presId="urn:microsoft.com/office/officeart/2005/8/layout/process4"/>
    <dgm:cxn modelId="{6DF03115-859F-48AC-B640-2E82E1E05966}" type="presParOf" srcId="{3945AD16-A4B6-4A0F-A128-9A17289DEFCF}" destId="{CEC1BBCE-3FFF-48A4-97D6-6B62387708E4}" srcOrd="1" destOrd="0" presId="urn:microsoft.com/office/officeart/2005/8/layout/process4"/>
    <dgm:cxn modelId="{709F0B14-A55E-4A87-88E2-B125B6003F3E}" type="presParOf" srcId="{3945AD16-A4B6-4A0F-A128-9A17289DEFCF}" destId="{423FC406-2F40-4C1D-B682-BB1EE048ECBD}" srcOrd="2" destOrd="0" presId="urn:microsoft.com/office/officeart/2005/8/layout/process4"/>
    <dgm:cxn modelId="{8B3A36FE-35DF-44B2-9EFC-0F2F163AEB31}" type="presParOf" srcId="{423FC406-2F40-4C1D-B682-BB1EE048ECBD}" destId="{E587725D-597C-4641-B161-382CD8E9500E}" srcOrd="0" destOrd="0" presId="urn:microsoft.com/office/officeart/2005/8/layout/process4"/>
    <dgm:cxn modelId="{B89EBEF7-1659-4DF5-AB77-D6F3B8AD5535}" type="presParOf" srcId="{423FC406-2F40-4C1D-B682-BB1EE048ECBD}" destId="{C6E6B26A-1CB7-4F9D-85C5-71A92AE95A3E}" srcOrd="1" destOrd="0" presId="urn:microsoft.com/office/officeart/2005/8/layout/process4"/>
    <dgm:cxn modelId="{C1A50AC2-DF95-4B3F-93DB-D10783150A0E}" type="presParOf" srcId="{D88D8626-B3B8-4F3D-B179-677C4CB86BCD}" destId="{4AC34484-6A09-494B-986C-DEAEC30B9CE2}" srcOrd="7" destOrd="0" presId="urn:microsoft.com/office/officeart/2005/8/layout/process4"/>
    <dgm:cxn modelId="{4655278C-7FFC-4C87-8778-C5BFCB40087A}" type="presParOf" srcId="{D88D8626-B3B8-4F3D-B179-677C4CB86BCD}" destId="{374742DD-1EBA-4890-A3D1-87AEDE60D5FD}" srcOrd="8" destOrd="0" presId="urn:microsoft.com/office/officeart/2005/8/layout/process4"/>
    <dgm:cxn modelId="{F2D724F6-752C-4799-9614-D15E25FFD379}" type="presParOf" srcId="{374742DD-1EBA-4890-A3D1-87AEDE60D5FD}" destId="{6FFE548D-B276-4B19-A38B-6FE390762D5E}" srcOrd="0" destOrd="0" presId="urn:microsoft.com/office/officeart/2005/8/layout/process4"/>
    <dgm:cxn modelId="{A16B28E5-787D-4F43-BC07-44FE41B6ED72}" type="presParOf" srcId="{374742DD-1EBA-4890-A3D1-87AEDE60D5FD}" destId="{09BB3D33-1908-457A-9933-9318642D578E}" srcOrd="1" destOrd="0" presId="urn:microsoft.com/office/officeart/2005/8/layout/process4"/>
    <dgm:cxn modelId="{2CD27987-BE70-4F4B-85BC-41528802C3F8}" type="presParOf" srcId="{374742DD-1EBA-4890-A3D1-87AEDE60D5FD}" destId="{32930F0A-2CB5-4415-8CDC-BC68F7B86A7E}" srcOrd="2" destOrd="0" presId="urn:microsoft.com/office/officeart/2005/8/layout/process4"/>
    <dgm:cxn modelId="{251D1054-C34A-4CC0-9F55-26FD8C4F1D91}" type="presParOf" srcId="{32930F0A-2CB5-4415-8CDC-BC68F7B86A7E}" destId="{7564CB4B-CE6F-418A-8878-E2BF855E5F02}" srcOrd="0" destOrd="0" presId="urn:microsoft.com/office/officeart/2005/8/layout/process4"/>
    <dgm:cxn modelId="{9C0AD9A6-A890-4899-8D6F-25C9DBD35F52}" type="presParOf" srcId="{32930F0A-2CB5-4415-8CDC-BC68F7B86A7E}" destId="{923736A5-0554-4805-8B87-6EBA1B8AE1D4}" srcOrd="1" destOrd="0" presId="urn:microsoft.com/office/officeart/2005/8/layout/process4"/>
    <dgm:cxn modelId="{EF9C99D1-7706-4F60-A96C-1CAB312893D7}" type="presParOf" srcId="{32930F0A-2CB5-4415-8CDC-BC68F7B86A7E}" destId="{E689A08E-F328-4A1F-B1A9-4305D54CA0FC}" srcOrd="2" destOrd="0" presId="urn:microsoft.com/office/officeart/2005/8/layout/process4"/>
    <dgm:cxn modelId="{A8F505BF-695A-4EE8-A846-5029485A7B34}" type="presParOf" srcId="{D88D8626-B3B8-4F3D-B179-677C4CB86BCD}" destId="{71F6998D-62AC-431A-94B4-A3B0AEF438DB}" srcOrd="9" destOrd="0" presId="urn:microsoft.com/office/officeart/2005/8/layout/process4"/>
    <dgm:cxn modelId="{B6813A00-2A29-442A-85A4-73FD2005CEC9}" type="presParOf" srcId="{D88D8626-B3B8-4F3D-B179-677C4CB86BCD}" destId="{ED2AA16D-BAFC-459C-BDB6-B23BD69E40F1}" srcOrd="10" destOrd="0" presId="urn:microsoft.com/office/officeart/2005/8/layout/process4"/>
    <dgm:cxn modelId="{E0EFAD5F-CFCB-4E9E-9317-4BA9B215B314}" type="presParOf" srcId="{ED2AA16D-BAFC-459C-BDB6-B23BD69E40F1}" destId="{0F6412CB-8E8F-4EE1-A140-3E0CC4D8FD73}" srcOrd="0" destOrd="0" presId="urn:microsoft.com/office/officeart/2005/8/layout/process4"/>
    <dgm:cxn modelId="{F5580E45-3130-432A-86A0-7972F12E378D}" type="presParOf" srcId="{ED2AA16D-BAFC-459C-BDB6-B23BD69E40F1}" destId="{CF02A475-83B9-4B87-A861-D5FD0FAE3875}" srcOrd="1" destOrd="0" presId="urn:microsoft.com/office/officeart/2005/8/layout/process4"/>
    <dgm:cxn modelId="{9E3AA78F-E532-4B35-ABDA-724FE8E396BD}" type="presParOf" srcId="{ED2AA16D-BAFC-459C-BDB6-B23BD69E40F1}" destId="{F8B37320-1D5A-4426-9CD5-00E7FD88C7AE}" srcOrd="2" destOrd="0" presId="urn:microsoft.com/office/officeart/2005/8/layout/process4"/>
    <dgm:cxn modelId="{D94E47B8-18CD-4591-9375-9847B022636E}" type="presParOf" srcId="{F8B37320-1D5A-4426-9CD5-00E7FD88C7AE}" destId="{C9FDFBB0-7E03-4E2B-B8C6-7A09815087B1}" srcOrd="0" destOrd="0" presId="urn:microsoft.com/office/officeart/2005/8/layout/process4"/>
    <dgm:cxn modelId="{FEA4ED4E-65C9-4271-B418-6B8EA3AA4641}" type="presParOf" srcId="{F8B37320-1D5A-4426-9CD5-00E7FD88C7AE}" destId="{2476BD48-9882-4A97-A988-BF904769F18D}" srcOrd="1" destOrd="0" presId="urn:microsoft.com/office/officeart/2005/8/layout/process4"/>
    <dgm:cxn modelId="{FEBBAB02-646A-4F16-B410-123F7AE74372}" type="presParOf" srcId="{D88D8626-B3B8-4F3D-B179-677C4CB86BCD}" destId="{647E3A8A-E924-4BA2-8DBF-623519601764}" srcOrd="11" destOrd="0" presId="urn:microsoft.com/office/officeart/2005/8/layout/process4"/>
    <dgm:cxn modelId="{BA102E93-6274-4527-BD06-FA696656F710}" type="presParOf" srcId="{D88D8626-B3B8-4F3D-B179-677C4CB86BCD}" destId="{724F8ADE-014E-45A3-BB0C-8D4ADB3AA96B}" srcOrd="12" destOrd="0" presId="urn:microsoft.com/office/officeart/2005/8/layout/process4"/>
    <dgm:cxn modelId="{20F0BF05-0300-49E3-B4C3-D85D5B4505D8}" type="presParOf" srcId="{724F8ADE-014E-45A3-BB0C-8D4ADB3AA96B}" destId="{DFAAA7A9-8957-451D-9393-F58D6B78157E}" srcOrd="0" destOrd="0" presId="urn:microsoft.com/office/officeart/2005/8/layout/process4"/>
    <dgm:cxn modelId="{D2247917-6652-4CD1-89E4-7274C84AAFC1}" type="presParOf" srcId="{724F8ADE-014E-45A3-BB0C-8D4ADB3AA96B}" destId="{EB679680-C82E-4D88-BA0D-A5EEBEB472C9}" srcOrd="1" destOrd="0" presId="urn:microsoft.com/office/officeart/2005/8/layout/process4"/>
    <dgm:cxn modelId="{686A76E6-F2BC-4461-B8A4-555CE695DC25}" type="presParOf" srcId="{724F8ADE-014E-45A3-BB0C-8D4ADB3AA96B}" destId="{56D4706F-82D3-47CA-9424-9A09F0DEC843}" srcOrd="2" destOrd="0" presId="urn:microsoft.com/office/officeart/2005/8/layout/process4"/>
    <dgm:cxn modelId="{A513D2E0-9571-442D-B14D-65202F072480}" type="presParOf" srcId="{56D4706F-82D3-47CA-9424-9A09F0DEC843}" destId="{A82539E0-09AB-4EC8-84CD-3C29FD27F970}" srcOrd="0" destOrd="0" presId="urn:microsoft.com/office/officeart/2005/8/layout/process4"/>
    <dgm:cxn modelId="{24117D5A-8351-4980-BE76-781EA5681929}" type="presParOf" srcId="{56D4706F-82D3-47CA-9424-9A09F0DEC843}" destId="{19AD92BA-D170-448D-A061-490ECE3E506B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7D8BCD-D386-4765-934D-98D8BF39007B}" type="doc">
      <dgm:prSet loTypeId="urn:microsoft.com/office/officeart/2005/8/layout/default" loCatId="list" qsTypeId="urn:microsoft.com/office/officeart/2005/8/quickstyle/simple1" qsCatId="simple" csTypeId="urn:microsoft.com/office/officeart/2005/8/colors/accent2_1" csCatId="accent2" phldr="1"/>
      <dgm:spPr/>
    </dgm:pt>
    <dgm:pt modelId="{2392F6BD-394B-4B31-B72C-AC6AFC692C09}">
      <dgm:prSet phldrT="[Текст]" custT="1"/>
      <dgm:spPr/>
      <dgm:t>
        <a:bodyPr/>
        <a:lstStyle/>
        <a:p>
          <a:r>
            <a:rPr lang="ru-RU" sz="1400" dirty="0" err="1">
              <a:latin typeface="Century Gothic" panose="020B0502020202020204" pitchFamily="34" charset="0"/>
            </a:rPr>
            <a:t>Қаладағы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көші-қон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процестерін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нашар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реттеу</a:t>
          </a:r>
          <a:endParaRPr lang="ru-RU" sz="1400" dirty="0">
            <a:latin typeface="Century Gothic" panose="020B0502020202020204" pitchFamily="34" charset="0"/>
          </a:endParaRPr>
        </a:p>
      </dgm:t>
    </dgm:pt>
    <dgm:pt modelId="{21603813-4D59-4D91-B272-DD16802F23DC}" type="parTrans" cxnId="{A42F0917-E822-40EC-A021-C5808567A44F}">
      <dgm:prSet/>
      <dgm:spPr/>
      <dgm:t>
        <a:bodyPr/>
        <a:lstStyle/>
        <a:p>
          <a:endParaRPr lang="ru-RU"/>
        </a:p>
      </dgm:t>
    </dgm:pt>
    <dgm:pt modelId="{B132C2D9-D385-4140-A60C-062434C2F24B}" type="sibTrans" cxnId="{A42F0917-E822-40EC-A021-C5808567A44F}">
      <dgm:prSet/>
      <dgm:spPr/>
      <dgm:t>
        <a:bodyPr/>
        <a:lstStyle/>
        <a:p>
          <a:endParaRPr lang="ru-RU"/>
        </a:p>
      </dgm:t>
    </dgm:pt>
    <dgm:pt modelId="{16230FEE-A56A-4EA6-A1E8-20F9A7F1B4B2}">
      <dgm:prSet phldrT="[Текст]" custT="1"/>
      <dgm:spPr/>
      <dgm:t>
        <a:bodyPr/>
        <a:lstStyle/>
        <a:p>
          <a:r>
            <a:rPr lang="ru-RU" sz="1400" dirty="0" err="1">
              <a:latin typeface="Century Gothic" panose="020B0502020202020204" pitchFamily="34" charset="0"/>
            </a:rPr>
            <a:t>Әр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түрлі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тұжырымдамалық</a:t>
          </a:r>
          <a:r>
            <a:rPr lang="ru-RU" sz="1400" dirty="0">
              <a:latin typeface="Century Gothic" panose="020B0502020202020204" pitchFamily="34" charset="0"/>
            </a:rPr>
            <a:t> аппарат </a:t>
          </a:r>
          <a:r>
            <a:rPr lang="ru-RU" sz="1400" dirty="0" err="1">
              <a:latin typeface="Century Gothic" panose="020B0502020202020204" pitchFamily="34" charset="0"/>
            </a:rPr>
            <a:t>және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заңнамалық</a:t>
          </a:r>
          <a:r>
            <a:rPr lang="ru-RU" sz="1400" dirty="0">
              <a:latin typeface="Century Gothic" panose="020B0502020202020204" pitchFamily="34" charset="0"/>
            </a:rPr>
            <a:t> база, </a:t>
          </a:r>
          <a:r>
            <a:rPr lang="ru-RU" sz="1400" dirty="0" err="1">
              <a:latin typeface="Century Gothic" panose="020B0502020202020204" pitchFamily="34" charset="0"/>
            </a:rPr>
            <a:t>тіпті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бір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қызмет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саласында</a:t>
          </a:r>
          <a:r>
            <a:rPr lang="ru-RU" sz="1400" dirty="0">
              <a:latin typeface="Century Gothic" panose="020B0502020202020204" pitchFamily="34" charset="0"/>
            </a:rPr>
            <a:t> </a:t>
          </a:r>
          <a:br>
            <a:rPr lang="ru-RU" sz="1400" dirty="0">
              <a:latin typeface="Century Gothic" panose="020B0502020202020204" pitchFamily="34" charset="0"/>
            </a:rPr>
          </a:br>
          <a:r>
            <a:rPr lang="ru-RU" sz="1400" dirty="0">
              <a:latin typeface="Century Gothic" panose="020B0502020202020204" pitchFamily="34" charset="0"/>
            </a:rPr>
            <a:t>(</a:t>
          </a:r>
          <a:r>
            <a:rPr lang="ru-RU" sz="1400" dirty="0" err="1">
              <a:latin typeface="Century Gothic" panose="020B0502020202020204" pitchFamily="34" charset="0"/>
            </a:rPr>
            <a:t>коммуналдық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қызметтер</a:t>
          </a:r>
          <a:r>
            <a:rPr lang="ru-RU" sz="1400" dirty="0">
              <a:latin typeface="Century Gothic" panose="020B0502020202020204" pitchFamily="34" charset="0"/>
            </a:rPr>
            <a:t>)</a:t>
          </a:r>
        </a:p>
      </dgm:t>
    </dgm:pt>
    <dgm:pt modelId="{3F8DF531-CD2E-4BE8-B805-668FC92B65EC}" type="parTrans" cxnId="{C5A0BDB2-0787-4840-B016-B2C36A49B793}">
      <dgm:prSet/>
      <dgm:spPr/>
      <dgm:t>
        <a:bodyPr/>
        <a:lstStyle/>
        <a:p>
          <a:endParaRPr lang="ru-RU"/>
        </a:p>
      </dgm:t>
    </dgm:pt>
    <dgm:pt modelId="{5BE03A5E-B885-4896-A301-20D5934CA39B}" type="sibTrans" cxnId="{C5A0BDB2-0787-4840-B016-B2C36A49B793}">
      <dgm:prSet/>
      <dgm:spPr/>
      <dgm:t>
        <a:bodyPr/>
        <a:lstStyle/>
        <a:p>
          <a:endParaRPr lang="ru-RU"/>
        </a:p>
      </dgm:t>
    </dgm:pt>
    <dgm:pt modelId="{C8D87EFB-C1A4-4805-AA9A-844DD4A1DA66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dirty="0" err="1">
              <a:latin typeface="Century Gothic" panose="020B0502020202020204" pitchFamily="34" charset="0"/>
            </a:rPr>
            <a:t>Орталық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мемлекеттік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органдар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басқармаларға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қала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бойынша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жеке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деректер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массивіне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рұқсат</a:t>
          </a:r>
          <a:r>
            <a:rPr lang="ru-RU" sz="1400" dirty="0">
              <a:latin typeface="Century Gothic" panose="020B0502020202020204" pitchFamily="34" charset="0"/>
            </a:rPr>
            <a:t> </a:t>
          </a:r>
          <a:r>
            <a:rPr lang="ru-RU" sz="1400" dirty="0" err="1">
              <a:latin typeface="Century Gothic" panose="020B0502020202020204" pitchFamily="34" charset="0"/>
            </a:rPr>
            <a:t>бермейді</a:t>
          </a:r>
          <a:endParaRPr lang="ru-RU" sz="1400" dirty="0">
            <a:latin typeface="Century Gothic" panose="020B0502020202020204" pitchFamily="34" charset="0"/>
          </a:endParaRPr>
        </a:p>
      </dgm:t>
    </dgm:pt>
    <dgm:pt modelId="{0F47F12A-3AF5-4049-A5BD-A04F09F9D867}" type="parTrans" cxnId="{9251DE67-26F3-4FB0-9F6F-5EE0E9FF692C}">
      <dgm:prSet/>
      <dgm:spPr/>
      <dgm:t>
        <a:bodyPr/>
        <a:lstStyle/>
        <a:p>
          <a:endParaRPr lang="ru-RU"/>
        </a:p>
      </dgm:t>
    </dgm:pt>
    <dgm:pt modelId="{AE33DA44-3878-4D31-85A7-E48AAF6E707A}" type="sibTrans" cxnId="{9251DE67-26F3-4FB0-9F6F-5EE0E9FF692C}">
      <dgm:prSet/>
      <dgm:spPr/>
      <dgm:t>
        <a:bodyPr/>
        <a:lstStyle/>
        <a:p>
          <a:endParaRPr lang="ru-RU"/>
        </a:p>
      </dgm:t>
    </dgm:pt>
    <dgm:pt modelId="{75177152-0C2E-4A5F-83A4-4B540C3A759B}">
      <dgm:prSet/>
      <dgm:spPr/>
      <dgm:t>
        <a:bodyPr/>
        <a:lstStyle/>
        <a:p>
          <a:r>
            <a:rPr lang="ru-RU" dirty="0">
              <a:latin typeface="Century Gothic" panose="020B0502020202020204" pitchFamily="34" charset="0"/>
            </a:rPr>
            <a:t>Алматы </a:t>
          </a:r>
          <a:r>
            <a:rPr lang="ru-RU" dirty="0" err="1">
              <a:latin typeface="Century Gothic" panose="020B0502020202020204" pitchFamily="34" charset="0"/>
            </a:rPr>
            <a:t>кейстерін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іске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асыру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қорытындылары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бойынша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ұсынылған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шешімдер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еліміздің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барлық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өңірлеріне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экстраполяциялануы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мүмкін</a:t>
          </a:r>
          <a:endParaRPr lang="ru-RU" dirty="0">
            <a:latin typeface="Century Gothic" panose="020B0502020202020204" pitchFamily="34" charset="0"/>
          </a:endParaRPr>
        </a:p>
      </dgm:t>
    </dgm:pt>
    <dgm:pt modelId="{41A6EF2A-E46A-47EB-8771-F6704B12854A}" type="parTrans" cxnId="{08182ECB-F247-43D1-A9A7-77B61285B71C}">
      <dgm:prSet/>
      <dgm:spPr/>
      <dgm:t>
        <a:bodyPr/>
        <a:lstStyle/>
        <a:p>
          <a:endParaRPr lang="ru-RU"/>
        </a:p>
      </dgm:t>
    </dgm:pt>
    <dgm:pt modelId="{86D2F4E1-0652-4876-9573-6CA77E2558A9}" type="sibTrans" cxnId="{08182ECB-F247-43D1-A9A7-77B61285B71C}">
      <dgm:prSet/>
      <dgm:spPr/>
      <dgm:t>
        <a:bodyPr/>
        <a:lstStyle/>
        <a:p>
          <a:endParaRPr lang="ru-RU"/>
        </a:p>
      </dgm:t>
    </dgm:pt>
    <dgm:pt modelId="{46259802-703C-47E5-9875-FC295CB2411A}">
      <dgm:prSet/>
      <dgm:spPr/>
      <dgm:t>
        <a:bodyPr/>
        <a:lstStyle/>
        <a:p>
          <a:r>
            <a:rPr lang="ru-RU" dirty="0" err="1">
              <a:latin typeface="Century Gothic" panose="020B0502020202020204" pitchFamily="34" charset="0"/>
            </a:rPr>
            <a:t>Қалалықтар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үшін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белсенді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әлеуметтік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сервистерді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іске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қосу</a:t>
          </a:r>
          <a:endParaRPr lang="ru-RU" dirty="0">
            <a:latin typeface="Century Gothic" panose="020B0502020202020204" pitchFamily="34" charset="0"/>
          </a:endParaRPr>
        </a:p>
      </dgm:t>
    </dgm:pt>
    <dgm:pt modelId="{E58EE5E4-A26A-4DBE-816C-0C7BA401032C}" type="parTrans" cxnId="{5B95C173-5F10-4307-83C0-370F3E9275BE}">
      <dgm:prSet/>
      <dgm:spPr/>
      <dgm:t>
        <a:bodyPr/>
        <a:lstStyle/>
        <a:p>
          <a:endParaRPr lang="ru-RU"/>
        </a:p>
      </dgm:t>
    </dgm:pt>
    <dgm:pt modelId="{44A77682-C816-42A9-82F7-AFEED394898E}" type="sibTrans" cxnId="{5B95C173-5F10-4307-83C0-370F3E9275BE}">
      <dgm:prSet/>
      <dgm:spPr/>
      <dgm:t>
        <a:bodyPr/>
        <a:lstStyle/>
        <a:p>
          <a:endParaRPr lang="ru-RU"/>
        </a:p>
      </dgm:t>
    </dgm:pt>
    <dgm:pt modelId="{F60D65BC-CCC7-420C-8B55-0F6EF45DE555}">
      <dgm:prSet/>
      <dgm:spPr/>
      <dgm:t>
        <a:bodyPr/>
        <a:lstStyle/>
        <a:p>
          <a:r>
            <a:rPr lang="ru-RU" dirty="0">
              <a:latin typeface="Century Gothic" panose="020B0502020202020204" pitchFamily="34" charset="0"/>
            </a:rPr>
            <a:t>БДҚ </a:t>
          </a:r>
          <a:r>
            <a:rPr lang="ru-RU" dirty="0" err="1">
              <a:latin typeface="Century Gothic" panose="020B0502020202020204" pitchFamily="34" charset="0"/>
            </a:rPr>
            <a:t>техникалық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шешімін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монетизациялау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мүмкіндігі</a:t>
          </a:r>
          <a:r>
            <a:rPr lang="ru-RU" dirty="0">
              <a:latin typeface="Century Gothic" panose="020B0502020202020204" pitchFamily="34" charset="0"/>
            </a:rPr>
            <a:t>, </a:t>
          </a:r>
          <a:r>
            <a:rPr lang="ru-RU" dirty="0" err="1">
              <a:latin typeface="Century Gothic" panose="020B0502020202020204" pitchFamily="34" charset="0"/>
            </a:rPr>
            <a:t>Алматының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тәжірибесін</a:t>
          </a:r>
          <a:r>
            <a:rPr lang="ru-RU" dirty="0">
              <a:latin typeface="Century Gothic" panose="020B0502020202020204" pitchFamily="34" charset="0"/>
            </a:rPr>
            <a:t> елде </a:t>
          </a:r>
          <a:r>
            <a:rPr lang="ru-RU" dirty="0" err="1">
              <a:latin typeface="Century Gothic" panose="020B0502020202020204" pitchFamily="34" charset="0"/>
            </a:rPr>
            <a:t>және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шетелде</a:t>
          </a:r>
          <a:r>
            <a:rPr lang="ru-RU" dirty="0">
              <a:latin typeface="Century Gothic" panose="020B0502020202020204" pitchFamily="34" charset="0"/>
            </a:rPr>
            <a:t> </a:t>
          </a:r>
          <a:r>
            <a:rPr lang="ru-RU" dirty="0" err="1">
              <a:latin typeface="Century Gothic" panose="020B0502020202020204" pitchFamily="34" charset="0"/>
            </a:rPr>
            <a:t>ілгерілету</a:t>
          </a:r>
          <a:endParaRPr lang="ru-RU" dirty="0">
            <a:latin typeface="Century Gothic" panose="020B0502020202020204" pitchFamily="34" charset="0"/>
          </a:endParaRPr>
        </a:p>
      </dgm:t>
    </dgm:pt>
    <dgm:pt modelId="{3415F5B7-7250-43C3-B748-EB211621245F}" type="parTrans" cxnId="{117444F4-426D-4004-896C-64FA18B2E37F}">
      <dgm:prSet/>
      <dgm:spPr/>
      <dgm:t>
        <a:bodyPr/>
        <a:lstStyle/>
        <a:p>
          <a:endParaRPr lang="ru-RU"/>
        </a:p>
      </dgm:t>
    </dgm:pt>
    <dgm:pt modelId="{84FA1065-1AC9-4402-91EB-A3700428DF42}" type="sibTrans" cxnId="{117444F4-426D-4004-896C-64FA18B2E37F}">
      <dgm:prSet/>
      <dgm:spPr/>
      <dgm:t>
        <a:bodyPr/>
        <a:lstStyle/>
        <a:p>
          <a:endParaRPr lang="ru-RU"/>
        </a:p>
      </dgm:t>
    </dgm:pt>
    <dgm:pt modelId="{6B68B886-2367-4080-A53F-05BC77468DD0}" type="pres">
      <dgm:prSet presAssocID="{537D8BCD-D386-4765-934D-98D8BF39007B}" presName="diagram" presStyleCnt="0">
        <dgm:presLayoutVars>
          <dgm:dir/>
          <dgm:resizeHandles val="exact"/>
        </dgm:presLayoutVars>
      </dgm:prSet>
      <dgm:spPr/>
    </dgm:pt>
    <dgm:pt modelId="{047AD730-C8BD-4224-A701-C718F5B94CD5}" type="pres">
      <dgm:prSet presAssocID="{2392F6BD-394B-4B31-B72C-AC6AFC692C09}" presName="node" presStyleLbl="node1" presStyleIdx="0" presStyleCnt="6" custScaleY="128034">
        <dgm:presLayoutVars>
          <dgm:bulletEnabled val="1"/>
        </dgm:presLayoutVars>
      </dgm:prSet>
      <dgm:spPr/>
    </dgm:pt>
    <dgm:pt modelId="{E32D5BD5-AB1E-452C-8EEC-F674E241818F}" type="pres">
      <dgm:prSet presAssocID="{B132C2D9-D385-4140-A60C-062434C2F24B}" presName="sibTrans" presStyleCnt="0"/>
      <dgm:spPr/>
    </dgm:pt>
    <dgm:pt modelId="{7A4E9762-D893-4DBF-BF62-66DB3E0A39F3}" type="pres">
      <dgm:prSet presAssocID="{16230FEE-A56A-4EA6-A1E8-20F9A7F1B4B2}" presName="node" presStyleLbl="node1" presStyleIdx="1" presStyleCnt="6" custScaleY="123968">
        <dgm:presLayoutVars>
          <dgm:bulletEnabled val="1"/>
        </dgm:presLayoutVars>
      </dgm:prSet>
      <dgm:spPr/>
    </dgm:pt>
    <dgm:pt modelId="{69A51BDF-9539-429F-8F31-C6AA6FBD0C20}" type="pres">
      <dgm:prSet presAssocID="{5BE03A5E-B885-4896-A301-20D5934CA39B}" presName="sibTrans" presStyleCnt="0"/>
      <dgm:spPr/>
    </dgm:pt>
    <dgm:pt modelId="{668C21D4-49A1-4F9A-BFFE-B7D9D6119BDC}" type="pres">
      <dgm:prSet presAssocID="{C8D87EFB-C1A4-4805-AA9A-844DD4A1DA66}" presName="node" presStyleLbl="node1" presStyleIdx="2" presStyleCnt="6" custScaleY="124960">
        <dgm:presLayoutVars>
          <dgm:bulletEnabled val="1"/>
        </dgm:presLayoutVars>
      </dgm:prSet>
      <dgm:spPr/>
    </dgm:pt>
    <dgm:pt modelId="{6CD52F18-6E2E-4A37-98E3-ECFFDB11D5AA}" type="pres">
      <dgm:prSet presAssocID="{AE33DA44-3878-4D31-85A7-E48AAF6E707A}" presName="sibTrans" presStyleCnt="0"/>
      <dgm:spPr/>
    </dgm:pt>
    <dgm:pt modelId="{28D023A8-3C29-47A6-ABBE-03F5C46CE9BA}" type="pres">
      <dgm:prSet presAssocID="{75177152-0C2E-4A5F-83A4-4B540C3A759B}" presName="node" presStyleLbl="node1" presStyleIdx="3" presStyleCnt="6" custScaleY="98396" custLinFactX="9067" custLinFactNeighborX="100000" custLinFactNeighborY="-3217">
        <dgm:presLayoutVars>
          <dgm:bulletEnabled val="1"/>
        </dgm:presLayoutVars>
      </dgm:prSet>
      <dgm:spPr/>
    </dgm:pt>
    <dgm:pt modelId="{694C7C82-F5C8-475B-98CB-81F8AE3637F6}" type="pres">
      <dgm:prSet presAssocID="{86D2F4E1-0652-4876-9573-6CA77E2558A9}" presName="sibTrans" presStyleCnt="0"/>
      <dgm:spPr/>
    </dgm:pt>
    <dgm:pt modelId="{91FC571F-8637-4C1F-9BB3-F1335A997C73}" type="pres">
      <dgm:prSet presAssocID="{F60D65BC-CCC7-420C-8B55-0F6EF45DE555}" presName="node" presStyleLbl="node1" presStyleIdx="4" presStyleCnt="6" custScaleY="98396" custLinFactX="9067" custLinFactNeighborX="100000" custLinFactNeighborY="-3217">
        <dgm:presLayoutVars>
          <dgm:bulletEnabled val="1"/>
        </dgm:presLayoutVars>
      </dgm:prSet>
      <dgm:spPr/>
    </dgm:pt>
    <dgm:pt modelId="{C027E603-F17F-4F30-AB6D-1972D1327D9E}" type="pres">
      <dgm:prSet presAssocID="{84FA1065-1AC9-4402-91EB-A3700428DF42}" presName="sibTrans" presStyleCnt="0"/>
      <dgm:spPr/>
    </dgm:pt>
    <dgm:pt modelId="{A52C0990-5A4E-4CF9-8E42-1EE81A09A5AD}" type="pres">
      <dgm:prSet presAssocID="{46259802-703C-47E5-9875-FC295CB2411A}" presName="node" presStyleLbl="node1" presStyleIdx="5" presStyleCnt="6" custLinFactX="-100000" custLinFactNeighborX="-119210" custLinFactNeighborY="-3451">
        <dgm:presLayoutVars>
          <dgm:bulletEnabled val="1"/>
        </dgm:presLayoutVars>
      </dgm:prSet>
      <dgm:spPr/>
    </dgm:pt>
  </dgm:ptLst>
  <dgm:cxnLst>
    <dgm:cxn modelId="{66895E07-EEB7-4404-8A05-C0AE51D6BFF0}" type="presOf" srcId="{F60D65BC-CCC7-420C-8B55-0F6EF45DE555}" destId="{91FC571F-8637-4C1F-9BB3-F1335A997C73}" srcOrd="0" destOrd="0" presId="urn:microsoft.com/office/officeart/2005/8/layout/default"/>
    <dgm:cxn modelId="{5D0F6C09-7D90-4641-91C9-B61FCD1E8B2C}" type="presOf" srcId="{16230FEE-A56A-4EA6-A1E8-20F9A7F1B4B2}" destId="{7A4E9762-D893-4DBF-BF62-66DB3E0A39F3}" srcOrd="0" destOrd="0" presId="urn:microsoft.com/office/officeart/2005/8/layout/default"/>
    <dgm:cxn modelId="{A42F0917-E822-40EC-A021-C5808567A44F}" srcId="{537D8BCD-D386-4765-934D-98D8BF39007B}" destId="{2392F6BD-394B-4B31-B72C-AC6AFC692C09}" srcOrd="0" destOrd="0" parTransId="{21603813-4D59-4D91-B272-DD16802F23DC}" sibTransId="{B132C2D9-D385-4140-A60C-062434C2F24B}"/>
    <dgm:cxn modelId="{C35B5518-17A2-4AC1-A0A8-41C57FCF20D4}" type="presOf" srcId="{2392F6BD-394B-4B31-B72C-AC6AFC692C09}" destId="{047AD730-C8BD-4224-A701-C718F5B94CD5}" srcOrd="0" destOrd="0" presId="urn:microsoft.com/office/officeart/2005/8/layout/default"/>
    <dgm:cxn modelId="{1B898821-0D11-4A07-8AEE-62D2476C68A7}" type="presOf" srcId="{75177152-0C2E-4A5F-83A4-4B540C3A759B}" destId="{28D023A8-3C29-47A6-ABBE-03F5C46CE9BA}" srcOrd="0" destOrd="0" presId="urn:microsoft.com/office/officeart/2005/8/layout/default"/>
    <dgm:cxn modelId="{9251DE67-26F3-4FB0-9F6F-5EE0E9FF692C}" srcId="{537D8BCD-D386-4765-934D-98D8BF39007B}" destId="{C8D87EFB-C1A4-4805-AA9A-844DD4A1DA66}" srcOrd="2" destOrd="0" parTransId="{0F47F12A-3AF5-4049-A5BD-A04F09F9D867}" sibTransId="{AE33DA44-3878-4D31-85A7-E48AAF6E707A}"/>
    <dgm:cxn modelId="{5B95C173-5F10-4307-83C0-370F3E9275BE}" srcId="{537D8BCD-D386-4765-934D-98D8BF39007B}" destId="{46259802-703C-47E5-9875-FC295CB2411A}" srcOrd="5" destOrd="0" parTransId="{E58EE5E4-A26A-4DBE-816C-0C7BA401032C}" sibTransId="{44A77682-C816-42A9-82F7-AFEED394898E}"/>
    <dgm:cxn modelId="{3589898E-4D1D-4DDA-9C32-706234B60D62}" type="presOf" srcId="{46259802-703C-47E5-9875-FC295CB2411A}" destId="{A52C0990-5A4E-4CF9-8E42-1EE81A09A5AD}" srcOrd="0" destOrd="0" presId="urn:microsoft.com/office/officeart/2005/8/layout/default"/>
    <dgm:cxn modelId="{45A50798-6D31-4CBE-BA85-8FBD8CAC34C3}" type="presOf" srcId="{537D8BCD-D386-4765-934D-98D8BF39007B}" destId="{6B68B886-2367-4080-A53F-05BC77468DD0}" srcOrd="0" destOrd="0" presId="urn:microsoft.com/office/officeart/2005/8/layout/default"/>
    <dgm:cxn modelId="{9F10D2A5-1DB4-44FB-B46E-9E1E2FE5EB92}" type="presOf" srcId="{C8D87EFB-C1A4-4805-AA9A-844DD4A1DA66}" destId="{668C21D4-49A1-4F9A-BFFE-B7D9D6119BDC}" srcOrd="0" destOrd="0" presId="urn:microsoft.com/office/officeart/2005/8/layout/default"/>
    <dgm:cxn modelId="{C5A0BDB2-0787-4840-B016-B2C36A49B793}" srcId="{537D8BCD-D386-4765-934D-98D8BF39007B}" destId="{16230FEE-A56A-4EA6-A1E8-20F9A7F1B4B2}" srcOrd="1" destOrd="0" parTransId="{3F8DF531-CD2E-4BE8-B805-668FC92B65EC}" sibTransId="{5BE03A5E-B885-4896-A301-20D5934CA39B}"/>
    <dgm:cxn modelId="{08182ECB-F247-43D1-A9A7-77B61285B71C}" srcId="{537D8BCD-D386-4765-934D-98D8BF39007B}" destId="{75177152-0C2E-4A5F-83A4-4B540C3A759B}" srcOrd="3" destOrd="0" parTransId="{41A6EF2A-E46A-47EB-8771-F6704B12854A}" sibTransId="{86D2F4E1-0652-4876-9573-6CA77E2558A9}"/>
    <dgm:cxn modelId="{117444F4-426D-4004-896C-64FA18B2E37F}" srcId="{537D8BCD-D386-4765-934D-98D8BF39007B}" destId="{F60D65BC-CCC7-420C-8B55-0F6EF45DE555}" srcOrd="4" destOrd="0" parTransId="{3415F5B7-7250-43C3-B748-EB211621245F}" sibTransId="{84FA1065-1AC9-4402-91EB-A3700428DF42}"/>
    <dgm:cxn modelId="{8E0AECFD-7AFE-422F-8376-BB58679998E5}" type="presParOf" srcId="{6B68B886-2367-4080-A53F-05BC77468DD0}" destId="{047AD730-C8BD-4224-A701-C718F5B94CD5}" srcOrd="0" destOrd="0" presId="urn:microsoft.com/office/officeart/2005/8/layout/default"/>
    <dgm:cxn modelId="{68A4A0B2-6E71-4B7E-B362-CB7E31637C3C}" type="presParOf" srcId="{6B68B886-2367-4080-A53F-05BC77468DD0}" destId="{E32D5BD5-AB1E-452C-8EEC-F674E241818F}" srcOrd="1" destOrd="0" presId="urn:microsoft.com/office/officeart/2005/8/layout/default"/>
    <dgm:cxn modelId="{54CD5CAD-0C29-431C-8C65-5D84FD766A3E}" type="presParOf" srcId="{6B68B886-2367-4080-A53F-05BC77468DD0}" destId="{7A4E9762-D893-4DBF-BF62-66DB3E0A39F3}" srcOrd="2" destOrd="0" presId="urn:microsoft.com/office/officeart/2005/8/layout/default"/>
    <dgm:cxn modelId="{687D8068-934E-4A1D-BBB4-72084EA0E29C}" type="presParOf" srcId="{6B68B886-2367-4080-A53F-05BC77468DD0}" destId="{69A51BDF-9539-429F-8F31-C6AA6FBD0C20}" srcOrd="3" destOrd="0" presId="urn:microsoft.com/office/officeart/2005/8/layout/default"/>
    <dgm:cxn modelId="{87C531CC-5542-4EB8-BB1B-E680D4C92B11}" type="presParOf" srcId="{6B68B886-2367-4080-A53F-05BC77468DD0}" destId="{668C21D4-49A1-4F9A-BFFE-B7D9D6119BDC}" srcOrd="4" destOrd="0" presId="urn:microsoft.com/office/officeart/2005/8/layout/default"/>
    <dgm:cxn modelId="{E553CEF3-6BDB-4CF2-8B01-A84235615597}" type="presParOf" srcId="{6B68B886-2367-4080-A53F-05BC77468DD0}" destId="{6CD52F18-6E2E-4A37-98E3-ECFFDB11D5AA}" srcOrd="5" destOrd="0" presId="urn:microsoft.com/office/officeart/2005/8/layout/default"/>
    <dgm:cxn modelId="{F0C7FD70-6B90-4132-8DEC-BA25CCA46003}" type="presParOf" srcId="{6B68B886-2367-4080-A53F-05BC77468DD0}" destId="{28D023A8-3C29-47A6-ABBE-03F5C46CE9BA}" srcOrd="6" destOrd="0" presId="urn:microsoft.com/office/officeart/2005/8/layout/default"/>
    <dgm:cxn modelId="{00224DCE-CEBC-4691-A16B-1F80D2A95710}" type="presParOf" srcId="{6B68B886-2367-4080-A53F-05BC77468DD0}" destId="{694C7C82-F5C8-475B-98CB-81F8AE3637F6}" srcOrd="7" destOrd="0" presId="urn:microsoft.com/office/officeart/2005/8/layout/default"/>
    <dgm:cxn modelId="{A3E1A7E9-16DB-4142-B8C9-F429B1969193}" type="presParOf" srcId="{6B68B886-2367-4080-A53F-05BC77468DD0}" destId="{91FC571F-8637-4C1F-9BB3-F1335A997C73}" srcOrd="8" destOrd="0" presId="urn:microsoft.com/office/officeart/2005/8/layout/default"/>
    <dgm:cxn modelId="{B2DE0BAA-CCA1-4A54-91A0-773654141783}" type="presParOf" srcId="{6B68B886-2367-4080-A53F-05BC77468DD0}" destId="{C027E603-F17F-4F30-AB6D-1972D1327D9E}" srcOrd="9" destOrd="0" presId="urn:microsoft.com/office/officeart/2005/8/layout/default"/>
    <dgm:cxn modelId="{BD4A6E80-5A22-4533-A0BE-CC9F11FD6908}" type="presParOf" srcId="{6B68B886-2367-4080-A53F-05BC77468DD0}" destId="{A52C0990-5A4E-4CF9-8E42-1EE81A09A5AD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512254-7E10-4256-8BE9-5006635A8A0F}">
      <dsp:nvSpPr>
        <dsp:cNvPr id="0" name=""/>
        <dsp:cNvSpPr/>
      </dsp:nvSpPr>
      <dsp:spPr>
        <a:xfrm>
          <a:off x="0" y="5032359"/>
          <a:ext cx="8495276" cy="5506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Century Gothic" pitchFamily="34" charset="0"/>
            </a:rPr>
            <a:t>АКТ</a:t>
          </a:r>
        </a:p>
      </dsp:txBody>
      <dsp:txXfrm>
        <a:off x="0" y="5032359"/>
        <a:ext cx="8495276" cy="297371"/>
      </dsp:txXfrm>
    </dsp:sp>
    <dsp:sp modelId="{79BBD463-86E2-4D3D-ACFF-4B6FF3766F4E}">
      <dsp:nvSpPr>
        <dsp:cNvPr id="0" name=""/>
        <dsp:cNvSpPr/>
      </dsp:nvSpPr>
      <dsp:spPr>
        <a:xfrm>
          <a:off x="0" y="5318717"/>
          <a:ext cx="8495276" cy="253316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Century Gothic" pitchFamily="34" charset="0"/>
            </a:rPr>
            <a:t>АКТ</a:t>
          </a:r>
        </a:p>
      </dsp:txBody>
      <dsp:txXfrm>
        <a:off x="0" y="5318717"/>
        <a:ext cx="8495276" cy="253316"/>
      </dsp:txXfrm>
    </dsp:sp>
    <dsp:sp modelId="{B882AD1D-442C-4824-AD02-C16E3243BE6E}">
      <dsp:nvSpPr>
        <dsp:cNvPr id="0" name=""/>
        <dsp:cNvSpPr/>
      </dsp:nvSpPr>
      <dsp:spPr>
        <a:xfrm rot="10800000">
          <a:off x="0" y="4193661"/>
          <a:ext cx="8495276" cy="846958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Smart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басқармасы</a:t>
          </a:r>
          <a:endParaRPr lang="ru-RU" sz="1400" kern="1200" dirty="0">
            <a:latin typeface="Century Gothic" pitchFamily="34" charset="0"/>
          </a:endParaRPr>
        </a:p>
      </dsp:txBody>
      <dsp:txXfrm rot="-10800000">
        <a:off x="0" y="4193661"/>
        <a:ext cx="8495276" cy="297282"/>
      </dsp:txXfrm>
    </dsp:sp>
    <dsp:sp modelId="{ADDEF7DC-247D-4665-886E-2A255E0AA654}">
      <dsp:nvSpPr>
        <dsp:cNvPr id="0" name=""/>
        <dsp:cNvSpPr/>
      </dsp:nvSpPr>
      <dsp:spPr>
        <a:xfrm>
          <a:off x="0" y="4490943"/>
          <a:ext cx="8495276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Қаланы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басқару</a:t>
          </a:r>
          <a:endParaRPr lang="ru-RU" sz="1400" kern="1200" dirty="0">
            <a:latin typeface="Century Gothic" pitchFamily="34" charset="0"/>
          </a:endParaRPr>
        </a:p>
      </dsp:txBody>
      <dsp:txXfrm>
        <a:off x="0" y="4490943"/>
        <a:ext cx="8495276" cy="253240"/>
      </dsp:txXfrm>
    </dsp:sp>
    <dsp:sp modelId="{4C5B5648-2FFA-4F88-88A7-A579AA1D44C3}">
      <dsp:nvSpPr>
        <dsp:cNvPr id="0" name=""/>
        <dsp:cNvSpPr/>
      </dsp:nvSpPr>
      <dsp:spPr>
        <a:xfrm rot="10800000">
          <a:off x="0" y="3354962"/>
          <a:ext cx="8495276" cy="846958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Smart</a:t>
          </a:r>
          <a:r>
            <a:rPr lang="ru-RU" sz="1400" kern="1200" dirty="0">
              <a:latin typeface="Century Gothic" pitchFamily="34" charset="0"/>
            </a:rPr>
            <a:t> экономика</a:t>
          </a:r>
        </a:p>
      </dsp:txBody>
      <dsp:txXfrm rot="-10800000">
        <a:off x="0" y="3354962"/>
        <a:ext cx="8495276" cy="297282"/>
      </dsp:txXfrm>
    </dsp:sp>
    <dsp:sp modelId="{03CDDE24-D48D-412F-AF81-DA859B946190}">
      <dsp:nvSpPr>
        <dsp:cNvPr id="0" name=""/>
        <dsp:cNvSpPr/>
      </dsp:nvSpPr>
      <dsp:spPr>
        <a:xfrm>
          <a:off x="0" y="3652245"/>
          <a:ext cx="8495276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kk-KZ" sz="1400" kern="1200" dirty="0">
              <a:latin typeface="Century Gothic" pitchFamily="34" charset="0"/>
            </a:rPr>
            <a:t>Қ</a:t>
          </a:r>
          <a:r>
            <a:rPr lang="ru-RU" sz="1400" kern="1200" dirty="0" err="1">
              <a:latin typeface="Century Gothic" pitchFamily="34" charset="0"/>
            </a:rPr>
            <a:t>ұрылыс</a:t>
          </a:r>
          <a:r>
            <a:rPr lang="en-US" sz="1400" kern="1200" dirty="0">
              <a:latin typeface="Century Gothic" pitchFamily="34" charset="0"/>
            </a:rPr>
            <a:t> </a:t>
          </a:r>
          <a:endParaRPr lang="ru-RU" sz="1400" kern="1200" dirty="0">
            <a:latin typeface="Century Gothic" pitchFamily="34" charset="0"/>
          </a:endParaRPr>
        </a:p>
      </dsp:txBody>
      <dsp:txXfrm>
        <a:off x="0" y="3652245"/>
        <a:ext cx="8495276" cy="253240"/>
      </dsp:txXfrm>
    </dsp:sp>
    <dsp:sp modelId="{CEC1BBCE-3FFF-48A4-97D6-6B62387708E4}">
      <dsp:nvSpPr>
        <dsp:cNvPr id="0" name=""/>
        <dsp:cNvSpPr/>
      </dsp:nvSpPr>
      <dsp:spPr>
        <a:xfrm rot="10800000">
          <a:off x="0" y="2516264"/>
          <a:ext cx="8495276" cy="846958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Smart</a:t>
          </a:r>
          <a:r>
            <a:rPr lang="ru-RU" sz="1400" kern="1200" dirty="0">
              <a:latin typeface="Century Gothic" pitchFamily="34" charset="0"/>
            </a:rPr>
            <a:t> орта</a:t>
          </a:r>
        </a:p>
      </dsp:txBody>
      <dsp:txXfrm rot="-10800000">
        <a:off x="0" y="2516264"/>
        <a:ext cx="8495276" cy="297282"/>
      </dsp:txXfrm>
    </dsp:sp>
    <dsp:sp modelId="{E587725D-597C-4641-B161-382CD8E9500E}">
      <dsp:nvSpPr>
        <dsp:cNvPr id="0" name=""/>
        <dsp:cNvSpPr/>
      </dsp:nvSpPr>
      <dsp:spPr>
        <a:xfrm>
          <a:off x="0" y="2813546"/>
          <a:ext cx="424763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latin typeface="Century Gothic" pitchFamily="34" charset="0"/>
            </a:rPr>
            <a:t>Экология</a:t>
          </a:r>
          <a:endParaRPr lang="ru-RU" sz="1400" kern="1200" dirty="0">
            <a:latin typeface="Century Gothic" pitchFamily="34" charset="0"/>
          </a:endParaRPr>
        </a:p>
      </dsp:txBody>
      <dsp:txXfrm>
        <a:off x="0" y="2813546"/>
        <a:ext cx="4247637" cy="253240"/>
      </dsp:txXfrm>
    </dsp:sp>
    <dsp:sp modelId="{C6E6B26A-1CB7-4F9D-85C5-71A92AE95A3E}">
      <dsp:nvSpPr>
        <dsp:cNvPr id="0" name=""/>
        <dsp:cNvSpPr/>
      </dsp:nvSpPr>
      <dsp:spPr>
        <a:xfrm>
          <a:off x="4247638" y="2813546"/>
          <a:ext cx="424763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Century Gothic" pitchFamily="34" charset="0"/>
            </a:rPr>
            <a:t>ТҮКШ</a:t>
          </a:r>
        </a:p>
      </dsp:txBody>
      <dsp:txXfrm>
        <a:off x="4247638" y="2813546"/>
        <a:ext cx="4247637" cy="253240"/>
      </dsp:txXfrm>
    </dsp:sp>
    <dsp:sp modelId="{09BB3D33-1908-457A-9933-9318642D578E}">
      <dsp:nvSpPr>
        <dsp:cNvPr id="0" name=""/>
        <dsp:cNvSpPr/>
      </dsp:nvSpPr>
      <dsp:spPr>
        <a:xfrm rot="10800000">
          <a:off x="0" y="1677565"/>
          <a:ext cx="8495276" cy="846958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Century Gothic" pitchFamily="34" charset="0"/>
            </a:rPr>
            <a:t>Smart </a:t>
          </a:r>
          <a:r>
            <a:rPr lang="ru-RU" sz="1400" kern="1200" dirty="0" err="1">
              <a:latin typeface="Century Gothic" pitchFamily="34" charset="0"/>
            </a:rPr>
            <a:t>өмір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салты</a:t>
          </a:r>
          <a:endParaRPr lang="ru-RU" sz="1400" kern="1200" dirty="0">
            <a:latin typeface="Century Gothic" pitchFamily="34" charset="0"/>
          </a:endParaRPr>
        </a:p>
      </dsp:txBody>
      <dsp:txXfrm rot="-10800000">
        <a:off x="0" y="1677565"/>
        <a:ext cx="8495276" cy="297282"/>
      </dsp:txXfrm>
    </dsp:sp>
    <dsp:sp modelId="{7564CB4B-CE6F-418A-8878-E2BF855E5F02}">
      <dsp:nvSpPr>
        <dsp:cNvPr id="0" name=""/>
        <dsp:cNvSpPr/>
      </dsp:nvSpPr>
      <dsp:spPr>
        <a:xfrm>
          <a:off x="3680" y="1974848"/>
          <a:ext cx="264647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Денсаулық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сақтау</a:t>
          </a:r>
          <a:endParaRPr lang="ru-RU" sz="1400" kern="1200" dirty="0">
            <a:latin typeface="Century Gothic" pitchFamily="34" charset="0"/>
          </a:endParaRPr>
        </a:p>
      </dsp:txBody>
      <dsp:txXfrm>
        <a:off x="3680" y="1974848"/>
        <a:ext cx="2646477" cy="253240"/>
      </dsp:txXfrm>
    </dsp:sp>
    <dsp:sp modelId="{923736A5-0554-4805-8B87-6EBA1B8AE1D4}">
      <dsp:nvSpPr>
        <dsp:cNvPr id="0" name=""/>
        <dsp:cNvSpPr/>
      </dsp:nvSpPr>
      <dsp:spPr>
        <a:xfrm>
          <a:off x="2650157" y="1974848"/>
          <a:ext cx="264647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Қауіпсіздік</a:t>
          </a:r>
          <a:endParaRPr lang="ru-RU" sz="1400" kern="1200" dirty="0">
            <a:latin typeface="Century Gothic" pitchFamily="34" charset="0"/>
          </a:endParaRPr>
        </a:p>
      </dsp:txBody>
      <dsp:txXfrm>
        <a:off x="2650157" y="1974848"/>
        <a:ext cx="2646477" cy="253240"/>
      </dsp:txXfrm>
    </dsp:sp>
    <dsp:sp modelId="{E689A08E-F328-4A1F-B1A9-4305D54CA0FC}">
      <dsp:nvSpPr>
        <dsp:cNvPr id="0" name=""/>
        <dsp:cNvSpPr/>
      </dsp:nvSpPr>
      <dsp:spPr>
        <a:xfrm>
          <a:off x="5296635" y="1974848"/>
          <a:ext cx="3194960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Century Gothic" pitchFamily="34" charset="0"/>
            </a:rPr>
            <a:t>Туризм, </a:t>
          </a:r>
          <a:r>
            <a:rPr lang="ru-RU" sz="1400" kern="1200" dirty="0" err="1">
              <a:latin typeface="Century Gothic" pitchFamily="34" charset="0"/>
            </a:rPr>
            <a:t>мәдениет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және</a:t>
          </a:r>
          <a:r>
            <a:rPr lang="ru-RU" sz="1400" kern="1200" dirty="0">
              <a:latin typeface="Century Gothic" pitchFamily="34" charset="0"/>
            </a:rPr>
            <a:t> спорт</a:t>
          </a:r>
        </a:p>
      </dsp:txBody>
      <dsp:txXfrm>
        <a:off x="5296635" y="1974848"/>
        <a:ext cx="3194960" cy="253240"/>
      </dsp:txXfrm>
    </dsp:sp>
    <dsp:sp modelId="{CF02A475-83B9-4B87-A861-D5FD0FAE3875}">
      <dsp:nvSpPr>
        <dsp:cNvPr id="0" name=""/>
        <dsp:cNvSpPr/>
      </dsp:nvSpPr>
      <dsp:spPr>
        <a:xfrm rot="10800000">
          <a:off x="0" y="838867"/>
          <a:ext cx="8495276" cy="846958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atin typeface="Century Gothic" pitchFamily="34" charset="0"/>
            </a:rPr>
            <a:t>Smart </a:t>
          </a:r>
          <a:r>
            <a:rPr lang="ru-RU" sz="1400" kern="1200" dirty="0" err="1">
              <a:latin typeface="Century Gothic" pitchFamily="34" charset="0"/>
            </a:rPr>
            <a:t>ұтқырлық</a:t>
          </a:r>
          <a:endParaRPr lang="ru-RU" sz="1400" kern="1200" dirty="0">
            <a:latin typeface="Century Gothic" pitchFamily="34" charset="0"/>
          </a:endParaRPr>
        </a:p>
      </dsp:txBody>
      <dsp:txXfrm rot="-10800000">
        <a:off x="0" y="838867"/>
        <a:ext cx="8495276" cy="297282"/>
      </dsp:txXfrm>
    </dsp:sp>
    <dsp:sp modelId="{C9FDFBB0-7E03-4E2B-B8C6-7A09815087B1}">
      <dsp:nvSpPr>
        <dsp:cNvPr id="0" name=""/>
        <dsp:cNvSpPr/>
      </dsp:nvSpPr>
      <dsp:spPr>
        <a:xfrm>
          <a:off x="0" y="1136149"/>
          <a:ext cx="424763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latin typeface="Century Gothic" pitchFamily="34" charset="0"/>
            </a:rPr>
            <a:t>Транспорт</a:t>
          </a:r>
          <a:r>
            <a:rPr lang="en-US" sz="1400" kern="1200" dirty="0">
              <a:latin typeface="Century Gothic" pitchFamily="34" charset="0"/>
            </a:rPr>
            <a:t> и </a:t>
          </a:r>
          <a:r>
            <a:rPr lang="en-US" sz="1400" kern="1200" dirty="0" err="1">
              <a:latin typeface="Century Gothic" pitchFamily="34" charset="0"/>
            </a:rPr>
            <a:t>логистика</a:t>
          </a:r>
          <a:endParaRPr lang="ru-RU" sz="1400" kern="1200" dirty="0">
            <a:latin typeface="Century Gothic" pitchFamily="34" charset="0"/>
          </a:endParaRPr>
        </a:p>
      </dsp:txBody>
      <dsp:txXfrm>
        <a:off x="0" y="1136149"/>
        <a:ext cx="4247637" cy="253240"/>
      </dsp:txXfrm>
    </dsp:sp>
    <dsp:sp modelId="{2476BD48-9882-4A97-A988-BF904769F18D}">
      <dsp:nvSpPr>
        <dsp:cNvPr id="0" name=""/>
        <dsp:cNvSpPr/>
      </dsp:nvSpPr>
      <dsp:spPr>
        <a:xfrm>
          <a:off x="4247638" y="1136149"/>
          <a:ext cx="424763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latin typeface="Century Gothic" pitchFamily="34" charset="0"/>
            </a:rPr>
            <a:t>Дорожная</a:t>
          </a:r>
          <a:r>
            <a:rPr lang="en-US" sz="1400" kern="1200" dirty="0">
              <a:latin typeface="Century Gothic" pitchFamily="34" charset="0"/>
            </a:rPr>
            <a:t> </a:t>
          </a:r>
          <a:r>
            <a:rPr lang="en-US" sz="1400" kern="1200" dirty="0" err="1">
              <a:latin typeface="Century Gothic" pitchFamily="34" charset="0"/>
            </a:rPr>
            <a:t>инфраструктура</a:t>
          </a:r>
          <a:endParaRPr lang="ru-RU" sz="1400" kern="1200" dirty="0">
            <a:latin typeface="Century Gothic" pitchFamily="34" charset="0"/>
          </a:endParaRPr>
        </a:p>
      </dsp:txBody>
      <dsp:txXfrm>
        <a:off x="4247638" y="1136149"/>
        <a:ext cx="4247637" cy="253240"/>
      </dsp:txXfrm>
    </dsp:sp>
    <dsp:sp modelId="{EB679680-C82E-4D88-BA0D-A5EEBEB472C9}">
      <dsp:nvSpPr>
        <dsp:cNvPr id="0" name=""/>
        <dsp:cNvSpPr/>
      </dsp:nvSpPr>
      <dsp:spPr>
        <a:xfrm rot="10800000">
          <a:off x="0" y="27263"/>
          <a:ext cx="8495276" cy="846958"/>
        </a:xfrm>
        <a:prstGeom prst="upArrowCallou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Smart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адамдар</a:t>
          </a:r>
          <a:endParaRPr lang="ru-RU" sz="1400" kern="1200" dirty="0">
            <a:latin typeface="Century Gothic" pitchFamily="34" charset="0"/>
          </a:endParaRPr>
        </a:p>
      </dsp:txBody>
      <dsp:txXfrm rot="-10800000">
        <a:off x="0" y="27263"/>
        <a:ext cx="8495276" cy="297282"/>
      </dsp:txXfrm>
    </dsp:sp>
    <dsp:sp modelId="{A82539E0-09AB-4EC8-84CD-3C29FD27F970}">
      <dsp:nvSpPr>
        <dsp:cNvPr id="0" name=""/>
        <dsp:cNvSpPr/>
      </dsp:nvSpPr>
      <dsp:spPr>
        <a:xfrm>
          <a:off x="0" y="297451"/>
          <a:ext cx="424763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Century Gothic" pitchFamily="34" charset="0"/>
            </a:rPr>
            <a:t>Б</a:t>
          </a:r>
          <a:r>
            <a:rPr lang="kk-KZ" sz="1400" kern="1200" dirty="0">
              <a:latin typeface="Century Gothic" pitchFamily="34" charset="0"/>
            </a:rPr>
            <a:t>ілім беру </a:t>
          </a:r>
          <a:endParaRPr lang="ru-RU" sz="1400" kern="1200" dirty="0">
            <a:latin typeface="Century Gothic" pitchFamily="34" charset="0"/>
          </a:endParaRPr>
        </a:p>
      </dsp:txBody>
      <dsp:txXfrm>
        <a:off x="0" y="297451"/>
        <a:ext cx="4247637" cy="253240"/>
      </dsp:txXfrm>
    </dsp:sp>
    <dsp:sp modelId="{19AD92BA-D170-448D-A061-490ECE3E506B}">
      <dsp:nvSpPr>
        <dsp:cNvPr id="0" name=""/>
        <dsp:cNvSpPr/>
      </dsp:nvSpPr>
      <dsp:spPr>
        <a:xfrm>
          <a:off x="4247638" y="297451"/>
          <a:ext cx="4247637" cy="253240"/>
        </a:xfrm>
        <a:prstGeom prst="rect">
          <a:avLst/>
        </a:prstGeom>
        <a:solidFill>
          <a:schemeClr val="l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17780" rIns="99568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itchFamily="34" charset="0"/>
            </a:rPr>
            <a:t>Әлеуметтік-еңбек</a:t>
          </a:r>
          <a:r>
            <a:rPr lang="ru-RU" sz="1400" kern="1200" dirty="0">
              <a:latin typeface="Century Gothic" pitchFamily="34" charset="0"/>
            </a:rPr>
            <a:t> </a:t>
          </a:r>
          <a:r>
            <a:rPr lang="ru-RU" sz="1400" kern="1200" dirty="0" err="1">
              <a:latin typeface="Century Gothic" pitchFamily="34" charset="0"/>
            </a:rPr>
            <a:t>саласы</a:t>
          </a:r>
          <a:endParaRPr lang="ru-RU" sz="1400" kern="1200" dirty="0">
            <a:latin typeface="Century Gothic" pitchFamily="34" charset="0"/>
          </a:endParaRPr>
        </a:p>
      </dsp:txBody>
      <dsp:txXfrm>
        <a:off x="4247638" y="297451"/>
        <a:ext cx="4247637" cy="25324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47AD730-C8BD-4224-A701-C718F5B94CD5}">
      <dsp:nvSpPr>
        <dsp:cNvPr id="0" name=""/>
        <dsp:cNvSpPr/>
      </dsp:nvSpPr>
      <dsp:spPr>
        <a:xfrm>
          <a:off x="0" y="518769"/>
          <a:ext cx="2885063" cy="221631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anose="020B0502020202020204" pitchFamily="34" charset="0"/>
            </a:rPr>
            <a:t>Қаладағы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көші-қон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процестерін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нашар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реттеу</a:t>
          </a:r>
          <a:endParaRPr lang="ru-RU" sz="1400" kern="1200" dirty="0">
            <a:latin typeface="Century Gothic" panose="020B0502020202020204" pitchFamily="34" charset="0"/>
          </a:endParaRPr>
        </a:p>
      </dsp:txBody>
      <dsp:txXfrm>
        <a:off x="0" y="518769"/>
        <a:ext cx="2885063" cy="2216317"/>
      </dsp:txXfrm>
    </dsp:sp>
    <dsp:sp modelId="{7A4E9762-D893-4DBF-BF62-66DB3E0A39F3}">
      <dsp:nvSpPr>
        <dsp:cNvPr id="0" name=""/>
        <dsp:cNvSpPr/>
      </dsp:nvSpPr>
      <dsp:spPr>
        <a:xfrm>
          <a:off x="3173570" y="553961"/>
          <a:ext cx="2885063" cy="214593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latin typeface="Century Gothic" panose="020B0502020202020204" pitchFamily="34" charset="0"/>
            </a:rPr>
            <a:t>Әр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түрлі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тұжырымдамалық</a:t>
          </a:r>
          <a:r>
            <a:rPr lang="ru-RU" sz="1400" kern="1200" dirty="0">
              <a:latin typeface="Century Gothic" panose="020B0502020202020204" pitchFamily="34" charset="0"/>
            </a:rPr>
            <a:t> аппарат </a:t>
          </a:r>
          <a:r>
            <a:rPr lang="ru-RU" sz="1400" kern="1200" dirty="0" err="1">
              <a:latin typeface="Century Gothic" panose="020B0502020202020204" pitchFamily="34" charset="0"/>
            </a:rPr>
            <a:t>және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заңнамалық</a:t>
          </a:r>
          <a:r>
            <a:rPr lang="ru-RU" sz="1400" kern="1200" dirty="0">
              <a:latin typeface="Century Gothic" panose="020B0502020202020204" pitchFamily="34" charset="0"/>
            </a:rPr>
            <a:t> база, </a:t>
          </a:r>
          <a:r>
            <a:rPr lang="ru-RU" sz="1400" kern="1200" dirty="0" err="1">
              <a:latin typeface="Century Gothic" panose="020B0502020202020204" pitchFamily="34" charset="0"/>
            </a:rPr>
            <a:t>тіпті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бір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қызмет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саласында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br>
            <a:rPr lang="ru-RU" sz="1400" kern="1200" dirty="0">
              <a:latin typeface="Century Gothic" panose="020B0502020202020204" pitchFamily="34" charset="0"/>
            </a:rPr>
          </a:br>
          <a:r>
            <a:rPr lang="ru-RU" sz="1400" kern="1200" dirty="0">
              <a:latin typeface="Century Gothic" panose="020B0502020202020204" pitchFamily="34" charset="0"/>
            </a:rPr>
            <a:t>(</a:t>
          </a:r>
          <a:r>
            <a:rPr lang="ru-RU" sz="1400" kern="1200" dirty="0" err="1">
              <a:latin typeface="Century Gothic" panose="020B0502020202020204" pitchFamily="34" charset="0"/>
            </a:rPr>
            <a:t>коммуналдық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қызметтер</a:t>
          </a:r>
          <a:r>
            <a:rPr lang="ru-RU" sz="1400" kern="1200" dirty="0">
              <a:latin typeface="Century Gothic" panose="020B0502020202020204" pitchFamily="34" charset="0"/>
            </a:rPr>
            <a:t>)</a:t>
          </a:r>
        </a:p>
      </dsp:txBody>
      <dsp:txXfrm>
        <a:off x="3173570" y="553961"/>
        <a:ext cx="2885063" cy="2145933"/>
      </dsp:txXfrm>
    </dsp:sp>
    <dsp:sp modelId="{668C21D4-49A1-4F9A-BFFE-B7D9D6119BDC}">
      <dsp:nvSpPr>
        <dsp:cNvPr id="0" name=""/>
        <dsp:cNvSpPr/>
      </dsp:nvSpPr>
      <dsp:spPr>
        <a:xfrm>
          <a:off x="6347140" y="545375"/>
          <a:ext cx="2885063" cy="216310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kern="1200" dirty="0" err="1">
              <a:latin typeface="Century Gothic" panose="020B0502020202020204" pitchFamily="34" charset="0"/>
            </a:rPr>
            <a:t>Орталық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мемлекеттік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органдар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басқармаларға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қала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бойынша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жеке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деректер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массивіне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рұқсат</a:t>
          </a:r>
          <a:r>
            <a:rPr lang="ru-RU" sz="1400" kern="1200" dirty="0">
              <a:latin typeface="Century Gothic" panose="020B0502020202020204" pitchFamily="34" charset="0"/>
            </a:rPr>
            <a:t> </a:t>
          </a:r>
          <a:r>
            <a:rPr lang="ru-RU" sz="1400" kern="1200" dirty="0" err="1">
              <a:latin typeface="Century Gothic" panose="020B0502020202020204" pitchFamily="34" charset="0"/>
            </a:rPr>
            <a:t>бермейді</a:t>
          </a:r>
          <a:endParaRPr lang="ru-RU" sz="1400" kern="1200" dirty="0">
            <a:latin typeface="Century Gothic" panose="020B0502020202020204" pitchFamily="34" charset="0"/>
          </a:endParaRPr>
        </a:p>
      </dsp:txBody>
      <dsp:txXfrm>
        <a:off x="6347140" y="545375"/>
        <a:ext cx="2885063" cy="2163105"/>
      </dsp:txXfrm>
    </dsp:sp>
    <dsp:sp modelId="{28D023A8-3C29-47A6-ABBE-03F5C46CE9BA}">
      <dsp:nvSpPr>
        <dsp:cNvPr id="0" name=""/>
        <dsp:cNvSpPr/>
      </dsp:nvSpPr>
      <dsp:spPr>
        <a:xfrm>
          <a:off x="3146652" y="2981788"/>
          <a:ext cx="2885063" cy="170327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latin typeface="Century Gothic" panose="020B0502020202020204" pitchFamily="34" charset="0"/>
            </a:rPr>
            <a:t>Алматы </a:t>
          </a:r>
          <a:r>
            <a:rPr lang="ru-RU" sz="1500" kern="1200" dirty="0" err="1">
              <a:latin typeface="Century Gothic" panose="020B0502020202020204" pitchFamily="34" charset="0"/>
            </a:rPr>
            <a:t>кейстерін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іске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асыру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қорытындылары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бойынша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ұсынылған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шешімдер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еліміздің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барлық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өңірлеріне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экстраполяциялануы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мүмкін</a:t>
          </a:r>
          <a:endParaRPr lang="ru-RU" sz="1500" kern="1200" dirty="0">
            <a:latin typeface="Century Gothic" panose="020B0502020202020204" pitchFamily="34" charset="0"/>
          </a:endParaRPr>
        </a:p>
      </dsp:txBody>
      <dsp:txXfrm>
        <a:off x="3146652" y="2981788"/>
        <a:ext cx="2885063" cy="1703272"/>
      </dsp:txXfrm>
    </dsp:sp>
    <dsp:sp modelId="{91FC571F-8637-4C1F-9BB3-F1335A997C73}">
      <dsp:nvSpPr>
        <dsp:cNvPr id="0" name=""/>
        <dsp:cNvSpPr/>
      </dsp:nvSpPr>
      <dsp:spPr>
        <a:xfrm>
          <a:off x="6320222" y="2981788"/>
          <a:ext cx="2885063" cy="170327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>
              <a:latin typeface="Century Gothic" panose="020B0502020202020204" pitchFamily="34" charset="0"/>
            </a:rPr>
            <a:t>БДҚ </a:t>
          </a:r>
          <a:r>
            <a:rPr lang="ru-RU" sz="1500" kern="1200" dirty="0" err="1">
              <a:latin typeface="Century Gothic" panose="020B0502020202020204" pitchFamily="34" charset="0"/>
            </a:rPr>
            <a:t>техникалық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шешімін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монетизациялау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мүмкіндігі</a:t>
          </a:r>
          <a:r>
            <a:rPr lang="ru-RU" sz="1500" kern="1200" dirty="0">
              <a:latin typeface="Century Gothic" panose="020B0502020202020204" pitchFamily="34" charset="0"/>
            </a:rPr>
            <a:t>, </a:t>
          </a:r>
          <a:r>
            <a:rPr lang="ru-RU" sz="1500" kern="1200" dirty="0" err="1">
              <a:latin typeface="Century Gothic" panose="020B0502020202020204" pitchFamily="34" charset="0"/>
            </a:rPr>
            <a:t>Алматының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тәжірибесін</a:t>
          </a:r>
          <a:r>
            <a:rPr lang="ru-RU" sz="1500" kern="1200" dirty="0">
              <a:latin typeface="Century Gothic" panose="020B0502020202020204" pitchFamily="34" charset="0"/>
            </a:rPr>
            <a:t> елде </a:t>
          </a:r>
          <a:r>
            <a:rPr lang="ru-RU" sz="1500" kern="1200" dirty="0" err="1">
              <a:latin typeface="Century Gothic" panose="020B0502020202020204" pitchFamily="34" charset="0"/>
            </a:rPr>
            <a:t>және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шетелде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ілгерілету</a:t>
          </a:r>
          <a:endParaRPr lang="ru-RU" sz="1500" kern="1200" dirty="0">
            <a:latin typeface="Century Gothic" panose="020B0502020202020204" pitchFamily="34" charset="0"/>
          </a:endParaRPr>
        </a:p>
      </dsp:txBody>
      <dsp:txXfrm>
        <a:off x="6320222" y="2981788"/>
        <a:ext cx="2885063" cy="1703272"/>
      </dsp:txXfrm>
    </dsp:sp>
    <dsp:sp modelId="{A52C0990-5A4E-4CF9-8E42-1EE81A09A5AD}">
      <dsp:nvSpPr>
        <dsp:cNvPr id="0" name=""/>
        <dsp:cNvSpPr/>
      </dsp:nvSpPr>
      <dsp:spPr>
        <a:xfrm>
          <a:off x="22792" y="2963855"/>
          <a:ext cx="2885063" cy="173103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500" kern="1200" dirty="0" err="1">
              <a:latin typeface="Century Gothic" panose="020B0502020202020204" pitchFamily="34" charset="0"/>
            </a:rPr>
            <a:t>Қалалықтар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үшін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белсенді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әлеуметтік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сервистерді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іске</a:t>
          </a:r>
          <a:r>
            <a:rPr lang="ru-RU" sz="1500" kern="1200" dirty="0">
              <a:latin typeface="Century Gothic" panose="020B0502020202020204" pitchFamily="34" charset="0"/>
            </a:rPr>
            <a:t> </a:t>
          </a:r>
          <a:r>
            <a:rPr lang="ru-RU" sz="1500" kern="1200" dirty="0" err="1">
              <a:latin typeface="Century Gothic" panose="020B0502020202020204" pitchFamily="34" charset="0"/>
            </a:rPr>
            <a:t>қосу</a:t>
          </a:r>
          <a:endParaRPr lang="ru-RU" sz="1500" kern="1200" dirty="0">
            <a:latin typeface="Century Gothic" panose="020B0502020202020204" pitchFamily="34" charset="0"/>
          </a:endParaRPr>
        </a:p>
      </dsp:txBody>
      <dsp:txXfrm>
        <a:off x="22792" y="2963855"/>
        <a:ext cx="2885063" cy="17310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49FFF9-4A87-46BD-95CC-3634F174944F}" type="datetimeFigureOut">
              <a:rPr lang="en-US" smtClean="0"/>
              <a:pPr/>
              <a:t>8/25/2022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1C12DA-AD2F-45D6-A039-ED3BC354FAD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334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6612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409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10615080f69_0_1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" name="Google Shape;92;g10615080f69_0_1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823454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5C98C5-A662-47A9-AF72-B6022083CC7A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490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5C98C5-A662-47A9-AF72-B6022083CC7A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256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2000" cy="2571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3772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2000" cy="2571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377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7095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g12637ea957a_3_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00025" y="809625"/>
            <a:ext cx="7197725" cy="40497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7" name="Google Shape;187;g12637ea957a_3_26:notes"/>
          <p:cNvSpPr txBox="1">
            <a:spLocks noGrp="1"/>
          </p:cNvSpPr>
          <p:nvPr>
            <p:ph type="body" idx="1"/>
          </p:nvPr>
        </p:nvSpPr>
        <p:spPr>
          <a:xfrm>
            <a:off x="679769" y="5130191"/>
            <a:ext cx="5438100" cy="4860066"/>
          </a:xfrm>
          <a:prstGeom prst="rect">
            <a:avLst/>
          </a:prstGeom>
        </p:spPr>
        <p:txBody>
          <a:bodyPr spcFirstLastPara="1" wrap="square" lIns="90975" tIns="45475" rIns="90975" bIns="454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8" name="Google Shape;188;g12637ea957a_3_26:notes"/>
          <p:cNvSpPr txBox="1">
            <a:spLocks noGrp="1"/>
          </p:cNvSpPr>
          <p:nvPr>
            <p:ph type="sldNum" idx="12"/>
          </p:nvPr>
        </p:nvSpPr>
        <p:spPr>
          <a:xfrm>
            <a:off x="3850446" y="10258503"/>
            <a:ext cx="2945700" cy="540116"/>
          </a:xfrm>
          <a:prstGeom prst="rect">
            <a:avLst/>
          </a:prstGeom>
        </p:spPr>
        <p:txBody>
          <a:bodyPr spcFirstLastPara="1" wrap="square" lIns="90975" tIns="45475" rIns="90975" bIns="45475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ru-RU"/>
              <a:t>5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741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85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99B265-859B-43BB-85CF-8B5DB3B0E747}" type="slidenum">
              <a:rPr lang="ru-KZ" smtClean="0"/>
              <a:t>10</a:t>
            </a:fld>
            <a:endParaRPr lang="ru-KZ"/>
          </a:p>
        </p:txBody>
      </p:sp>
    </p:spTree>
    <p:extLst>
      <p:ext uri="{BB962C8B-B14F-4D97-AF65-F5344CB8AC3E}">
        <p14:creationId xmlns:p14="http://schemas.microsoft.com/office/powerpoint/2010/main" val="18592045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40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1C12DA-AD2F-45D6-A039-ED3BC354FAD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9409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979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876" y="2125980"/>
            <a:ext cx="10368598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9752" y="3840480"/>
            <a:ext cx="8538845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08285"/>
                </a:solidFill>
                <a:latin typeface="KZ_Exo 2 Medium Condensed"/>
                <a:cs typeface="KZ_Exo 2 Medium Condensed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Qazaqstan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85D"/>
                </a:solidFill>
                <a:latin typeface="Gotham"/>
                <a:cs typeface="Gotha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08285"/>
                </a:solidFill>
                <a:latin typeface="KZ_Exo 2 Medium Condensed"/>
                <a:cs typeface="KZ_Exo 2 Medium Condensed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Qazaqstan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85D"/>
                </a:solidFill>
                <a:latin typeface="Gotham"/>
                <a:cs typeface="Gotha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917" y="1577340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2150" y="1577340"/>
            <a:ext cx="5306282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08285"/>
                </a:solidFill>
                <a:latin typeface="KZ_Exo 2 Medium Condensed"/>
                <a:cs typeface="KZ_Exo 2 Medium Condensed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Qazaqstan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85D"/>
                </a:solidFill>
                <a:latin typeface="Gotham"/>
                <a:cs typeface="Gotha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08285"/>
                </a:solidFill>
                <a:latin typeface="KZ_Exo 2 Medium Condensed"/>
                <a:cs typeface="KZ_Exo 2 Medium Condensed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Qazaqstan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08285"/>
                </a:solidFill>
                <a:latin typeface="KZ_Exo 2 Medium Condensed"/>
                <a:cs typeface="KZ_Exo 2 Medium Condensed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Qazaqstan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Click to add title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sz="half" idx="1"/>
          </p:nvPr>
        </p:nvSpPr>
        <p:spPr>
          <a:xfrm>
            <a:off x="764052" y="1919063"/>
            <a:ext cx="10670245" cy="221996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>
            <a:normAutofit/>
          </a:bodyPr>
          <a:lstStyle/>
          <a:p>
            <a:r>
              <a:t>Click to add text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114188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45A352B-D916-4D10-A5B2-DE245DE309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5060" y="514012"/>
            <a:ext cx="11702531" cy="654149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r>
              <a:rPr lang="ru-RU" dirty="0"/>
              <a:t>Образец заголовка</a:t>
            </a:r>
            <a:endParaRPr lang="ru-KZ" dirty="0"/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01" y="1104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1" y="1104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101" y="1104"/>
          <a:ext cx="1099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01" y="1104"/>
                        <a:ext cx="1099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id="{38A400C5-3C55-45C2-9A12-433E184A0D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2786" y="6525344"/>
            <a:ext cx="699215" cy="3326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bg1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fld id="{CFCCB99F-92C9-44CB-BFF7-A591374D8AE5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B03FE5B7-E2A7-4817-AAB5-AB004D853176}"/>
              </a:ext>
            </a:extLst>
          </p:cNvPr>
          <p:cNvGrpSpPr/>
          <p:nvPr userDrawn="1"/>
        </p:nvGrpSpPr>
        <p:grpSpPr>
          <a:xfrm>
            <a:off x="255060" y="93734"/>
            <a:ext cx="6518005" cy="230833"/>
            <a:chOff x="191295" y="93733"/>
            <a:chExt cx="4888504" cy="230833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8BC149D0-883B-4AB4-B528-D375B9D854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91295" y="93733"/>
              <a:ext cx="227604" cy="23083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6917AD8-6624-4A4E-869B-99AEFEDA7893}"/>
                </a:ext>
              </a:extLst>
            </p:cNvPr>
            <p:cNvSpPr txBox="1"/>
            <p:nvPr userDrawn="1"/>
          </p:nvSpPr>
          <p:spPr>
            <a:xfrm>
              <a:off x="418899" y="109121"/>
              <a:ext cx="4660900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700" b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ЦИОНАЛЬНЫЙ БАНК КАЗАХСТАН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472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158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5590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0649" y="1491400"/>
            <a:ext cx="10497051" cy="939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cs typeface="Gotham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64052" y="1919063"/>
            <a:ext cx="10670245" cy="2219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780460" y="6257321"/>
            <a:ext cx="633730" cy="2108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808285"/>
                </a:solidFill>
                <a:latin typeface="KZ_Exo 2 Medium Condensed"/>
                <a:cs typeface="KZ_Exo 2 Medium Condensed"/>
              </a:defRPr>
            </a:lvl1pPr>
          </a:lstStyle>
          <a:p>
            <a:pPr marL="12700">
              <a:lnSpc>
                <a:spcPct val="100000"/>
              </a:lnSpc>
              <a:spcBef>
                <a:spcPts val="25"/>
              </a:spcBef>
            </a:pPr>
            <a:r>
              <a:rPr dirty="0"/>
              <a:t>Qazaqstan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917" y="6377940"/>
            <a:ext cx="28056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25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82812" y="6377940"/>
            <a:ext cx="28056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32.jf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jpeg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jpeg"/><Relationship Id="rId12" Type="http://schemas.openxmlformats.org/officeDocument/2006/relationships/image" Target="../media/image4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jpeg"/><Relationship Id="rId11" Type="http://schemas.openxmlformats.org/officeDocument/2006/relationships/image" Target="../media/image41.jpe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8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sv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g"/><Relationship Id="rId5" Type="http://schemas.openxmlformats.org/officeDocument/2006/relationships/image" Target="../media/image14.sv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1" name="Группа 30"/>
          <p:cNvGrpSpPr/>
          <p:nvPr/>
        </p:nvGrpSpPr>
        <p:grpSpPr>
          <a:xfrm>
            <a:off x="179833" y="178307"/>
            <a:ext cx="11832336" cy="6501384"/>
            <a:chOff x="275623" y="485074"/>
            <a:chExt cx="11832336" cy="6501384"/>
          </a:xfrm>
        </p:grpSpPr>
        <p:sp>
          <p:nvSpPr>
            <p:cNvPr id="2" name="object 2"/>
            <p:cNvSpPr/>
            <p:nvPr/>
          </p:nvSpPr>
          <p:spPr>
            <a:xfrm>
              <a:off x="275789" y="486770"/>
              <a:ext cx="11832005" cy="649799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75623" y="485074"/>
              <a:ext cx="11832336" cy="6501384"/>
            </a:xfrm>
            <a:prstGeom prst="rect">
              <a:avLst/>
            </a:prstGeom>
            <a:solidFill>
              <a:srgbClr val="1F385D">
                <a:alpha val="9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228600" y="4495800"/>
            <a:ext cx="11658600" cy="88594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r">
              <a:lnSpc>
                <a:spcPct val="150000"/>
              </a:lnSpc>
              <a:spcBef>
                <a:spcPts val="100"/>
              </a:spcBef>
              <a:tabLst>
                <a:tab pos="1936114" algn="l"/>
                <a:tab pos="2169795" algn="l"/>
                <a:tab pos="3376929" algn="l"/>
                <a:tab pos="4213225" algn="l"/>
                <a:tab pos="6055995" algn="l"/>
              </a:tabLst>
            </a:pP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Алматы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қаласы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Цифрландыру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басқармасының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b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</a:b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2022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жылдың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7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айындағы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есебі</a:t>
            </a:r>
            <a:endParaRPr lang="ru-RU" sz="1200" b="0" spc="1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773316" y="762000"/>
            <a:ext cx="3341484" cy="702091"/>
            <a:chOff x="773316" y="773317"/>
            <a:chExt cx="3572756" cy="75068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73316" y="773317"/>
              <a:ext cx="3572756" cy="750684"/>
              <a:chOff x="1973415" y="39706"/>
              <a:chExt cx="8351686" cy="1754802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38738" y="110040"/>
                <a:ext cx="5186363" cy="1604999"/>
              </a:xfrm>
              <a:prstGeom prst="rect">
                <a:avLst/>
              </a:prstGeom>
            </p:spPr>
          </p:pic>
          <p:pic>
            <p:nvPicPr>
              <p:cNvPr id="22" name="Рисунок 2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3415" y="39706"/>
                <a:ext cx="1754801" cy="1754802"/>
              </a:xfrm>
              <a:prstGeom prst="rect">
                <a:avLst/>
              </a:prstGeom>
            </p:spPr>
          </p:pic>
        </p:grp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828800" y="856034"/>
              <a:ext cx="0" cy="658239"/>
            </a:xfrm>
            <a:prstGeom prst="line">
              <a:avLst/>
            </a:prstGeom>
            <a:ln>
              <a:solidFill>
                <a:schemeClr val="bg1">
                  <a:lumMod val="75000"/>
                  <a:alpha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11"/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13" name="Группа 90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18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9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14" name="Группа 93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16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7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  <p:grpSp>
        <p:nvGrpSpPr>
          <p:cNvPr id="20" name="Группа 19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25" name="Группа 11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32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3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6" name="Группа 120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27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29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11451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2">
            <a:extLst>
              <a:ext uri="{FF2B5EF4-FFF2-40B4-BE49-F238E27FC236}">
                <a16:creationId xmlns:a16="http://schemas.microsoft.com/office/drawing/2014/main" id="{7FC71D07-1725-4787-A064-F0D87C2A9127}"/>
              </a:ext>
            </a:extLst>
          </p:cNvPr>
          <p:cNvSpPr/>
          <p:nvPr/>
        </p:nvSpPr>
        <p:spPr>
          <a:xfrm>
            <a:off x="179997" y="179997"/>
            <a:ext cx="11832590" cy="6498590"/>
          </a:xfrm>
          <a:custGeom>
            <a:avLst/>
            <a:gdLst/>
            <a:ahLst/>
            <a:cxnLst/>
            <a:rect l="l" t="t" r="r" b="b"/>
            <a:pathLst>
              <a:path w="11832590" h="6498590">
                <a:moveTo>
                  <a:pt x="0" y="0"/>
                </a:moveTo>
                <a:lnTo>
                  <a:pt x="11832005" y="0"/>
                </a:lnTo>
                <a:lnTo>
                  <a:pt x="11832005" y="6498005"/>
                </a:lnTo>
                <a:lnTo>
                  <a:pt x="0" y="649800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EE3235"/>
            </a:solidFill>
          </a:ln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5" name="object 24">
            <a:extLst>
              <a:ext uri="{FF2B5EF4-FFF2-40B4-BE49-F238E27FC236}">
                <a16:creationId xmlns:a16="http://schemas.microsoft.com/office/drawing/2014/main" id="{2E4684F7-A1FB-437E-81AC-9FAA5C1381F8}"/>
              </a:ext>
            </a:extLst>
          </p:cNvPr>
          <p:cNvSpPr/>
          <p:nvPr/>
        </p:nvSpPr>
        <p:spPr>
          <a:xfrm>
            <a:off x="768430" y="314360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96" y="20205"/>
                </a:moveTo>
                <a:lnTo>
                  <a:pt x="664641" y="20205"/>
                </a:lnTo>
                <a:lnTo>
                  <a:pt x="664641" y="68656"/>
                </a:lnTo>
                <a:lnTo>
                  <a:pt x="664933" y="68656"/>
                </a:lnTo>
                <a:lnTo>
                  <a:pt x="670039" y="69062"/>
                </a:lnTo>
                <a:lnTo>
                  <a:pt x="676935" y="69265"/>
                </a:lnTo>
                <a:lnTo>
                  <a:pt x="692073" y="69265"/>
                </a:lnTo>
                <a:lnTo>
                  <a:pt x="696607" y="68186"/>
                </a:lnTo>
                <a:lnTo>
                  <a:pt x="701916" y="63868"/>
                </a:lnTo>
                <a:lnTo>
                  <a:pt x="702343" y="62598"/>
                </a:lnTo>
                <a:lnTo>
                  <a:pt x="684339" y="62598"/>
                </a:lnTo>
                <a:lnTo>
                  <a:pt x="672896" y="62496"/>
                </a:lnTo>
                <a:lnTo>
                  <a:pt x="672896" y="45275"/>
                </a:lnTo>
                <a:lnTo>
                  <a:pt x="702162" y="45275"/>
                </a:lnTo>
                <a:lnTo>
                  <a:pt x="701890" y="44488"/>
                </a:lnTo>
                <a:lnTo>
                  <a:pt x="696442" y="40106"/>
                </a:lnTo>
                <a:lnTo>
                  <a:pt x="691502" y="39001"/>
                </a:lnTo>
                <a:lnTo>
                  <a:pt x="672896" y="39001"/>
                </a:lnTo>
                <a:lnTo>
                  <a:pt x="672896" y="20205"/>
                </a:lnTo>
                <a:close/>
              </a:path>
              <a:path w="720725" h="70484">
                <a:moveTo>
                  <a:pt x="702162" y="45275"/>
                </a:moveTo>
                <a:lnTo>
                  <a:pt x="688314" y="45275"/>
                </a:lnTo>
                <a:lnTo>
                  <a:pt x="691045" y="45885"/>
                </a:lnTo>
                <a:lnTo>
                  <a:pt x="693953" y="48348"/>
                </a:lnTo>
                <a:lnTo>
                  <a:pt x="694690" y="50584"/>
                </a:lnTo>
                <a:lnTo>
                  <a:pt x="694690" y="57353"/>
                </a:lnTo>
                <a:lnTo>
                  <a:pt x="693940" y="59689"/>
                </a:lnTo>
                <a:lnTo>
                  <a:pt x="690956" y="62014"/>
                </a:lnTo>
                <a:lnTo>
                  <a:pt x="688251" y="62598"/>
                </a:lnTo>
                <a:lnTo>
                  <a:pt x="702343" y="62598"/>
                </a:lnTo>
                <a:lnTo>
                  <a:pt x="703249" y="59905"/>
                </a:lnTo>
                <a:lnTo>
                  <a:pt x="703223" y="48348"/>
                </a:lnTo>
                <a:lnTo>
                  <a:pt x="702162" y="45275"/>
                </a:lnTo>
                <a:close/>
              </a:path>
              <a:path w="720725" h="70484">
                <a:moveTo>
                  <a:pt x="720661" y="20205"/>
                </a:moveTo>
                <a:lnTo>
                  <a:pt x="712101" y="20205"/>
                </a:lnTo>
                <a:lnTo>
                  <a:pt x="712101" y="68656"/>
                </a:lnTo>
                <a:lnTo>
                  <a:pt x="720661" y="68656"/>
                </a:lnTo>
                <a:lnTo>
                  <a:pt x="720661" y="20205"/>
                </a:lnTo>
                <a:close/>
              </a:path>
              <a:path w="720725" h="70484">
                <a:moveTo>
                  <a:pt x="642747" y="19011"/>
                </a:moveTo>
                <a:lnTo>
                  <a:pt x="628015" y="19011"/>
                </a:lnTo>
                <a:lnTo>
                  <a:pt x="622096" y="20916"/>
                </a:lnTo>
                <a:lnTo>
                  <a:pt x="615124" y="28549"/>
                </a:lnTo>
                <a:lnTo>
                  <a:pt x="613384" y="35090"/>
                </a:lnTo>
                <a:lnTo>
                  <a:pt x="613384" y="53733"/>
                </a:lnTo>
                <a:lnTo>
                  <a:pt x="615111" y="60324"/>
                </a:lnTo>
                <a:lnTo>
                  <a:pt x="622007" y="67944"/>
                </a:lnTo>
                <a:lnTo>
                  <a:pt x="627951" y="69862"/>
                </a:lnTo>
                <a:lnTo>
                  <a:pt x="642683" y="69862"/>
                </a:lnTo>
                <a:lnTo>
                  <a:pt x="648182" y="69024"/>
                </a:lnTo>
                <a:lnTo>
                  <a:pt x="652894" y="67373"/>
                </a:lnTo>
                <a:lnTo>
                  <a:pt x="652235" y="62699"/>
                </a:lnTo>
                <a:lnTo>
                  <a:pt x="631926" y="62699"/>
                </a:lnTo>
                <a:lnTo>
                  <a:pt x="627888" y="61404"/>
                </a:lnTo>
                <a:lnTo>
                  <a:pt x="623379" y="56222"/>
                </a:lnTo>
                <a:lnTo>
                  <a:pt x="622249" y="51409"/>
                </a:lnTo>
                <a:lnTo>
                  <a:pt x="622249" y="37414"/>
                </a:lnTo>
                <a:lnTo>
                  <a:pt x="623392" y="32638"/>
                </a:lnTo>
                <a:lnTo>
                  <a:pt x="627964" y="27470"/>
                </a:lnTo>
                <a:lnTo>
                  <a:pt x="631990" y="26174"/>
                </a:lnTo>
                <a:lnTo>
                  <a:pt x="651019" y="26174"/>
                </a:lnTo>
                <a:lnTo>
                  <a:pt x="651992" y="21297"/>
                </a:lnTo>
                <a:lnTo>
                  <a:pt x="647954" y="19773"/>
                </a:lnTo>
                <a:lnTo>
                  <a:pt x="642747" y="19011"/>
                </a:lnTo>
                <a:close/>
              </a:path>
              <a:path w="720725" h="70484">
                <a:moveTo>
                  <a:pt x="652094" y="61696"/>
                </a:moveTo>
                <a:lnTo>
                  <a:pt x="647915" y="62356"/>
                </a:lnTo>
                <a:lnTo>
                  <a:pt x="643140" y="62699"/>
                </a:lnTo>
                <a:lnTo>
                  <a:pt x="652235" y="62699"/>
                </a:lnTo>
                <a:lnTo>
                  <a:pt x="652094" y="61696"/>
                </a:lnTo>
                <a:close/>
              </a:path>
              <a:path w="720725" h="70484">
                <a:moveTo>
                  <a:pt x="651019" y="26174"/>
                </a:moveTo>
                <a:lnTo>
                  <a:pt x="642150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9" y="26174"/>
                </a:lnTo>
                <a:close/>
              </a:path>
              <a:path w="720725" h="70484">
                <a:moveTo>
                  <a:pt x="599338" y="26174"/>
                </a:moveTo>
                <a:lnTo>
                  <a:pt x="585660" y="26174"/>
                </a:lnTo>
                <a:lnTo>
                  <a:pt x="588213" y="26796"/>
                </a:lnTo>
                <a:lnTo>
                  <a:pt x="590994" y="29324"/>
                </a:lnTo>
                <a:lnTo>
                  <a:pt x="591731" y="31483"/>
                </a:lnTo>
                <a:lnTo>
                  <a:pt x="591794" y="38811"/>
                </a:lnTo>
                <a:lnTo>
                  <a:pt x="567347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47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402" y="68681"/>
                </a:lnTo>
                <a:lnTo>
                  <a:pt x="587362" y="65163"/>
                </a:lnTo>
                <a:lnTo>
                  <a:pt x="590270" y="63093"/>
                </a:lnTo>
                <a:lnTo>
                  <a:pt x="590987" y="62356"/>
                </a:lnTo>
                <a:lnTo>
                  <a:pt x="576859" y="62356"/>
                </a:lnTo>
                <a:lnTo>
                  <a:pt x="574281" y="62293"/>
                </a:lnTo>
                <a:lnTo>
                  <a:pt x="571690" y="62293"/>
                </a:lnTo>
                <a:lnTo>
                  <a:pt x="569785" y="61709"/>
                </a:lnTo>
                <a:lnTo>
                  <a:pt x="567321" y="59385"/>
                </a:lnTo>
                <a:lnTo>
                  <a:pt x="566724" y="57543"/>
                </a:lnTo>
                <a:lnTo>
                  <a:pt x="566724" y="47701"/>
                </a:lnTo>
                <a:lnTo>
                  <a:pt x="568845" y="45478"/>
                </a:lnTo>
                <a:lnTo>
                  <a:pt x="573087" y="45275"/>
                </a:lnTo>
                <a:lnTo>
                  <a:pt x="600252" y="45275"/>
                </a:lnTo>
                <a:lnTo>
                  <a:pt x="600252" y="28892"/>
                </a:lnTo>
                <a:lnTo>
                  <a:pt x="599338" y="26174"/>
                </a:lnTo>
                <a:close/>
              </a:path>
              <a:path w="720725" h="70484">
                <a:moveTo>
                  <a:pt x="600252" y="60705"/>
                </a:moveTo>
                <a:lnTo>
                  <a:pt x="592594" y="60705"/>
                </a:lnTo>
                <a:lnTo>
                  <a:pt x="593585" y="68656"/>
                </a:lnTo>
                <a:lnTo>
                  <a:pt x="600252" y="68656"/>
                </a:lnTo>
                <a:lnTo>
                  <a:pt x="600252" y="60705"/>
                </a:lnTo>
                <a:close/>
              </a:path>
              <a:path w="720725" h="70484">
                <a:moveTo>
                  <a:pt x="600252" y="45275"/>
                </a:moveTo>
                <a:lnTo>
                  <a:pt x="591794" y="45275"/>
                </a:lnTo>
                <a:lnTo>
                  <a:pt x="591794" y="55029"/>
                </a:lnTo>
                <a:lnTo>
                  <a:pt x="589076" y="57416"/>
                </a:lnTo>
                <a:lnTo>
                  <a:pt x="586117" y="59245"/>
                </a:lnTo>
                <a:lnTo>
                  <a:pt x="579755" y="61760"/>
                </a:lnTo>
                <a:lnTo>
                  <a:pt x="576859" y="62356"/>
                </a:lnTo>
                <a:lnTo>
                  <a:pt x="590987" y="62356"/>
                </a:lnTo>
                <a:lnTo>
                  <a:pt x="592594" y="60705"/>
                </a:lnTo>
                <a:lnTo>
                  <a:pt x="600252" y="60705"/>
                </a:lnTo>
                <a:lnTo>
                  <a:pt x="600252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100" y="19011"/>
                </a:lnTo>
                <a:lnTo>
                  <a:pt x="569264" y="19735"/>
                </a:lnTo>
                <a:lnTo>
                  <a:pt x="560247" y="21196"/>
                </a:lnTo>
                <a:lnTo>
                  <a:pt x="561047" y="27470"/>
                </a:lnTo>
                <a:lnTo>
                  <a:pt x="570268" y="26606"/>
                </a:lnTo>
                <a:lnTo>
                  <a:pt x="577227" y="26174"/>
                </a:lnTo>
                <a:lnTo>
                  <a:pt x="599338" y="26174"/>
                </a:lnTo>
                <a:lnTo>
                  <a:pt x="598906" y="24891"/>
                </a:lnTo>
                <a:lnTo>
                  <a:pt x="593534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44" y="20205"/>
                </a:lnTo>
                <a:lnTo>
                  <a:pt x="517359" y="21132"/>
                </a:lnTo>
                <a:lnTo>
                  <a:pt x="513372" y="24841"/>
                </a:lnTo>
                <a:lnTo>
                  <a:pt x="512152" y="27698"/>
                </a:lnTo>
                <a:lnTo>
                  <a:pt x="511683" y="31546"/>
                </a:lnTo>
                <a:lnTo>
                  <a:pt x="510425" y="43751"/>
                </a:lnTo>
                <a:lnTo>
                  <a:pt x="509003" y="51879"/>
                </a:lnTo>
                <a:lnTo>
                  <a:pt x="498856" y="62699"/>
                </a:lnTo>
                <a:lnTo>
                  <a:pt x="499745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98" y="29108"/>
                </a:lnTo>
                <a:lnTo>
                  <a:pt x="522376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9" y="26174"/>
                </a:moveTo>
                <a:lnTo>
                  <a:pt x="474802" y="26174"/>
                </a:lnTo>
                <a:lnTo>
                  <a:pt x="477354" y="26796"/>
                </a:lnTo>
                <a:lnTo>
                  <a:pt x="480148" y="29324"/>
                </a:lnTo>
                <a:lnTo>
                  <a:pt x="480872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99" y="39852"/>
                </a:lnTo>
                <a:lnTo>
                  <a:pt x="448487" y="44030"/>
                </a:lnTo>
                <a:lnTo>
                  <a:pt x="447306" y="46964"/>
                </a:lnTo>
                <a:lnTo>
                  <a:pt x="447306" y="60337"/>
                </a:lnTo>
                <a:lnTo>
                  <a:pt x="448589" y="63665"/>
                </a:lnTo>
                <a:lnTo>
                  <a:pt x="453771" y="68376"/>
                </a:lnTo>
                <a:lnTo>
                  <a:pt x="457288" y="69557"/>
                </a:lnTo>
                <a:lnTo>
                  <a:pt x="465772" y="69557"/>
                </a:lnTo>
                <a:lnTo>
                  <a:pt x="469544" y="68681"/>
                </a:lnTo>
                <a:lnTo>
                  <a:pt x="476516" y="65163"/>
                </a:lnTo>
                <a:lnTo>
                  <a:pt x="479412" y="63093"/>
                </a:lnTo>
                <a:lnTo>
                  <a:pt x="480129" y="62356"/>
                </a:lnTo>
                <a:lnTo>
                  <a:pt x="466013" y="62356"/>
                </a:lnTo>
                <a:lnTo>
                  <a:pt x="463423" y="62293"/>
                </a:lnTo>
                <a:lnTo>
                  <a:pt x="460844" y="62293"/>
                </a:lnTo>
                <a:lnTo>
                  <a:pt x="458927" y="61709"/>
                </a:lnTo>
                <a:lnTo>
                  <a:pt x="456476" y="59385"/>
                </a:lnTo>
                <a:lnTo>
                  <a:pt x="455866" y="57543"/>
                </a:lnTo>
                <a:lnTo>
                  <a:pt x="455866" y="47701"/>
                </a:lnTo>
                <a:lnTo>
                  <a:pt x="457987" y="45478"/>
                </a:lnTo>
                <a:lnTo>
                  <a:pt x="462229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9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36" y="60705"/>
                </a:lnTo>
                <a:lnTo>
                  <a:pt x="482727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18" y="57416"/>
                </a:lnTo>
                <a:lnTo>
                  <a:pt x="475259" y="59245"/>
                </a:lnTo>
                <a:lnTo>
                  <a:pt x="468896" y="61760"/>
                </a:lnTo>
                <a:lnTo>
                  <a:pt x="466013" y="62356"/>
                </a:lnTo>
                <a:lnTo>
                  <a:pt x="480129" y="62356"/>
                </a:lnTo>
                <a:lnTo>
                  <a:pt x="481736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510" y="19011"/>
                </a:moveTo>
                <a:lnTo>
                  <a:pt x="466242" y="19011"/>
                </a:lnTo>
                <a:lnTo>
                  <a:pt x="458419" y="19735"/>
                </a:lnTo>
                <a:lnTo>
                  <a:pt x="449389" y="21196"/>
                </a:lnTo>
                <a:lnTo>
                  <a:pt x="450189" y="27470"/>
                </a:lnTo>
                <a:lnTo>
                  <a:pt x="459409" y="26606"/>
                </a:lnTo>
                <a:lnTo>
                  <a:pt x="466382" y="26174"/>
                </a:lnTo>
                <a:lnTo>
                  <a:pt x="488479" y="26174"/>
                </a:lnTo>
                <a:lnTo>
                  <a:pt x="488048" y="24891"/>
                </a:lnTo>
                <a:lnTo>
                  <a:pt x="482676" y="20180"/>
                </a:lnTo>
                <a:lnTo>
                  <a:pt x="478510" y="19011"/>
                </a:lnTo>
                <a:close/>
              </a:path>
              <a:path w="720725" h="70484">
                <a:moveTo>
                  <a:pt x="405015" y="20205"/>
                </a:moveTo>
                <a:lnTo>
                  <a:pt x="396557" y="20205"/>
                </a:lnTo>
                <a:lnTo>
                  <a:pt x="396557" y="68656"/>
                </a:lnTo>
                <a:lnTo>
                  <a:pt x="405015" y="68656"/>
                </a:lnTo>
                <a:lnTo>
                  <a:pt x="404890" y="49060"/>
                </a:lnTo>
                <a:lnTo>
                  <a:pt x="404609" y="46774"/>
                </a:lnTo>
                <a:lnTo>
                  <a:pt x="427304" y="46774"/>
                </a:lnTo>
                <a:lnTo>
                  <a:pt x="418744" y="43586"/>
                </a:lnTo>
                <a:lnTo>
                  <a:pt x="418744" y="43281"/>
                </a:lnTo>
                <a:lnTo>
                  <a:pt x="426639" y="40208"/>
                </a:lnTo>
                <a:lnTo>
                  <a:pt x="404520" y="40208"/>
                </a:lnTo>
                <a:lnTo>
                  <a:pt x="404795" y="38544"/>
                </a:lnTo>
                <a:lnTo>
                  <a:pt x="404916" y="37477"/>
                </a:lnTo>
                <a:lnTo>
                  <a:pt x="405015" y="20205"/>
                </a:lnTo>
                <a:close/>
              </a:path>
              <a:path w="720725" h="70484">
                <a:moveTo>
                  <a:pt x="427304" y="46774"/>
                </a:moveTo>
                <a:lnTo>
                  <a:pt x="413169" y="46774"/>
                </a:lnTo>
                <a:lnTo>
                  <a:pt x="414426" y="46951"/>
                </a:lnTo>
                <a:lnTo>
                  <a:pt x="416687" y="47675"/>
                </a:lnTo>
                <a:lnTo>
                  <a:pt x="429793" y="68656"/>
                </a:lnTo>
                <a:lnTo>
                  <a:pt x="438645" y="68656"/>
                </a:lnTo>
                <a:lnTo>
                  <a:pt x="428599" y="47993"/>
                </a:lnTo>
                <a:lnTo>
                  <a:pt x="427304" y="46774"/>
                </a:lnTo>
                <a:close/>
              </a:path>
              <a:path w="720725" h="70484">
                <a:moveTo>
                  <a:pt x="437261" y="20205"/>
                </a:moveTo>
                <a:lnTo>
                  <a:pt x="428498" y="20205"/>
                </a:lnTo>
                <a:lnTo>
                  <a:pt x="427101" y="24053"/>
                </a:lnTo>
                <a:lnTo>
                  <a:pt x="425983" y="26936"/>
                </a:lnTo>
                <a:lnTo>
                  <a:pt x="413600" y="40208"/>
                </a:lnTo>
                <a:lnTo>
                  <a:pt x="426639" y="40208"/>
                </a:lnTo>
                <a:lnTo>
                  <a:pt x="428371" y="38544"/>
                </a:lnTo>
                <a:lnTo>
                  <a:pt x="429425" y="37477"/>
                </a:lnTo>
                <a:lnTo>
                  <a:pt x="430022" y="36588"/>
                </a:lnTo>
                <a:lnTo>
                  <a:pt x="431342" y="34061"/>
                </a:lnTo>
                <a:lnTo>
                  <a:pt x="432676" y="31699"/>
                </a:lnTo>
                <a:lnTo>
                  <a:pt x="433222" y="30479"/>
                </a:lnTo>
                <a:lnTo>
                  <a:pt x="435876" y="23926"/>
                </a:lnTo>
                <a:lnTo>
                  <a:pt x="437261" y="20205"/>
                </a:lnTo>
                <a:close/>
              </a:path>
              <a:path w="720725" h="70484">
                <a:moveTo>
                  <a:pt x="310870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20" y="68656"/>
                </a:lnTo>
                <a:lnTo>
                  <a:pt x="308025" y="69062"/>
                </a:lnTo>
                <a:lnTo>
                  <a:pt x="314921" y="69265"/>
                </a:lnTo>
                <a:lnTo>
                  <a:pt x="330047" y="69265"/>
                </a:lnTo>
                <a:lnTo>
                  <a:pt x="334594" y="68186"/>
                </a:lnTo>
                <a:lnTo>
                  <a:pt x="339902" y="63868"/>
                </a:lnTo>
                <a:lnTo>
                  <a:pt x="340326" y="62598"/>
                </a:lnTo>
                <a:lnTo>
                  <a:pt x="322326" y="62598"/>
                </a:lnTo>
                <a:lnTo>
                  <a:pt x="310870" y="62496"/>
                </a:lnTo>
                <a:lnTo>
                  <a:pt x="310870" y="45275"/>
                </a:lnTo>
                <a:lnTo>
                  <a:pt x="340136" y="45275"/>
                </a:lnTo>
                <a:lnTo>
                  <a:pt x="339864" y="44488"/>
                </a:lnTo>
                <a:lnTo>
                  <a:pt x="334429" y="40106"/>
                </a:lnTo>
                <a:lnTo>
                  <a:pt x="329476" y="39001"/>
                </a:lnTo>
                <a:lnTo>
                  <a:pt x="310870" y="39001"/>
                </a:lnTo>
                <a:lnTo>
                  <a:pt x="310870" y="20205"/>
                </a:lnTo>
                <a:close/>
              </a:path>
              <a:path w="720725" h="70484">
                <a:moveTo>
                  <a:pt x="340136" y="45275"/>
                </a:moveTo>
                <a:lnTo>
                  <a:pt x="326301" y="45275"/>
                </a:lnTo>
                <a:lnTo>
                  <a:pt x="329018" y="45885"/>
                </a:lnTo>
                <a:lnTo>
                  <a:pt x="331939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14" y="59689"/>
                </a:lnTo>
                <a:lnTo>
                  <a:pt x="328942" y="62014"/>
                </a:lnTo>
                <a:lnTo>
                  <a:pt x="326237" y="62598"/>
                </a:lnTo>
                <a:lnTo>
                  <a:pt x="340326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3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63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63" y="27165"/>
                </a:lnTo>
                <a:lnTo>
                  <a:pt x="292163" y="20205"/>
                </a:lnTo>
                <a:close/>
              </a:path>
              <a:path w="720725" h="70484">
                <a:moveTo>
                  <a:pt x="237718" y="26174"/>
                </a:moveTo>
                <a:lnTo>
                  <a:pt x="224040" y="26174"/>
                </a:lnTo>
                <a:lnTo>
                  <a:pt x="226580" y="26796"/>
                </a:lnTo>
                <a:lnTo>
                  <a:pt x="229374" y="29324"/>
                </a:lnTo>
                <a:lnTo>
                  <a:pt x="230111" y="31483"/>
                </a:lnTo>
                <a:lnTo>
                  <a:pt x="230174" y="38811"/>
                </a:lnTo>
                <a:lnTo>
                  <a:pt x="205727" y="38811"/>
                </a:lnTo>
                <a:lnTo>
                  <a:pt x="202425" y="39852"/>
                </a:lnTo>
                <a:lnTo>
                  <a:pt x="197713" y="44030"/>
                </a:lnTo>
                <a:lnTo>
                  <a:pt x="196532" y="46964"/>
                </a:lnTo>
                <a:lnTo>
                  <a:pt x="196532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14" y="69557"/>
                </a:lnTo>
                <a:lnTo>
                  <a:pt x="215011" y="69557"/>
                </a:lnTo>
                <a:lnTo>
                  <a:pt x="218782" y="68681"/>
                </a:lnTo>
                <a:lnTo>
                  <a:pt x="225742" y="65163"/>
                </a:lnTo>
                <a:lnTo>
                  <a:pt x="228650" y="63093"/>
                </a:lnTo>
                <a:lnTo>
                  <a:pt x="229367" y="62356"/>
                </a:lnTo>
                <a:lnTo>
                  <a:pt x="215239" y="62356"/>
                </a:lnTo>
                <a:lnTo>
                  <a:pt x="212661" y="62293"/>
                </a:lnTo>
                <a:lnTo>
                  <a:pt x="210070" y="62293"/>
                </a:lnTo>
                <a:lnTo>
                  <a:pt x="208165" y="61709"/>
                </a:lnTo>
                <a:lnTo>
                  <a:pt x="205701" y="59385"/>
                </a:lnTo>
                <a:lnTo>
                  <a:pt x="205105" y="57543"/>
                </a:lnTo>
                <a:lnTo>
                  <a:pt x="205105" y="47701"/>
                </a:lnTo>
                <a:lnTo>
                  <a:pt x="207225" y="45478"/>
                </a:lnTo>
                <a:lnTo>
                  <a:pt x="211467" y="45275"/>
                </a:lnTo>
                <a:lnTo>
                  <a:pt x="238633" y="45275"/>
                </a:lnTo>
                <a:lnTo>
                  <a:pt x="238633" y="28892"/>
                </a:lnTo>
                <a:lnTo>
                  <a:pt x="237718" y="26174"/>
                </a:lnTo>
                <a:close/>
              </a:path>
              <a:path w="720725" h="70484">
                <a:moveTo>
                  <a:pt x="238633" y="60705"/>
                </a:moveTo>
                <a:lnTo>
                  <a:pt x="230974" y="60705"/>
                </a:lnTo>
                <a:lnTo>
                  <a:pt x="231965" y="68656"/>
                </a:lnTo>
                <a:lnTo>
                  <a:pt x="238633" y="68656"/>
                </a:lnTo>
                <a:lnTo>
                  <a:pt x="238633" y="60705"/>
                </a:lnTo>
                <a:close/>
              </a:path>
              <a:path w="720725" h="70484">
                <a:moveTo>
                  <a:pt x="238633" y="45275"/>
                </a:moveTo>
                <a:lnTo>
                  <a:pt x="230174" y="45275"/>
                </a:lnTo>
                <a:lnTo>
                  <a:pt x="230174" y="55029"/>
                </a:lnTo>
                <a:lnTo>
                  <a:pt x="227457" y="57416"/>
                </a:lnTo>
                <a:lnTo>
                  <a:pt x="224497" y="59245"/>
                </a:lnTo>
                <a:lnTo>
                  <a:pt x="218122" y="61760"/>
                </a:lnTo>
                <a:lnTo>
                  <a:pt x="215239" y="62356"/>
                </a:lnTo>
                <a:lnTo>
                  <a:pt x="229367" y="62356"/>
                </a:lnTo>
                <a:lnTo>
                  <a:pt x="230974" y="60705"/>
                </a:lnTo>
                <a:lnTo>
                  <a:pt x="238633" y="60705"/>
                </a:lnTo>
                <a:lnTo>
                  <a:pt x="238633" y="45275"/>
                </a:lnTo>
                <a:close/>
              </a:path>
              <a:path w="720725" h="70484">
                <a:moveTo>
                  <a:pt x="227749" y="19011"/>
                </a:moveTo>
                <a:lnTo>
                  <a:pt x="215480" y="19011"/>
                </a:lnTo>
                <a:lnTo>
                  <a:pt x="207645" y="19735"/>
                </a:lnTo>
                <a:lnTo>
                  <a:pt x="198628" y="21196"/>
                </a:lnTo>
                <a:lnTo>
                  <a:pt x="199428" y="27470"/>
                </a:lnTo>
                <a:lnTo>
                  <a:pt x="208648" y="26606"/>
                </a:lnTo>
                <a:lnTo>
                  <a:pt x="215607" y="26174"/>
                </a:lnTo>
                <a:lnTo>
                  <a:pt x="237718" y="26174"/>
                </a:lnTo>
                <a:lnTo>
                  <a:pt x="237286" y="24891"/>
                </a:lnTo>
                <a:lnTo>
                  <a:pt x="231914" y="20180"/>
                </a:lnTo>
                <a:lnTo>
                  <a:pt x="227749" y="19011"/>
                </a:lnTo>
                <a:close/>
              </a:path>
              <a:path w="720725" h="70484">
                <a:moveTo>
                  <a:pt x="139382" y="20205"/>
                </a:moveTo>
                <a:lnTo>
                  <a:pt x="126784" y="20205"/>
                </a:lnTo>
                <a:lnTo>
                  <a:pt x="125691" y="21259"/>
                </a:lnTo>
                <a:lnTo>
                  <a:pt x="125691" y="23380"/>
                </a:lnTo>
                <a:lnTo>
                  <a:pt x="123698" y="68656"/>
                </a:lnTo>
                <a:lnTo>
                  <a:pt x="131457" y="68656"/>
                </a:lnTo>
                <a:lnTo>
                  <a:pt x="133248" y="26669"/>
                </a:lnTo>
                <a:lnTo>
                  <a:pt x="142336" y="26669"/>
                </a:lnTo>
                <a:lnTo>
                  <a:pt x="141008" y="22986"/>
                </a:lnTo>
                <a:lnTo>
                  <a:pt x="140487" y="21132"/>
                </a:lnTo>
                <a:lnTo>
                  <a:pt x="139382" y="20205"/>
                </a:lnTo>
                <a:close/>
              </a:path>
              <a:path w="720725" h="70484">
                <a:moveTo>
                  <a:pt x="182460" y="26669"/>
                </a:moveTo>
                <a:lnTo>
                  <a:pt x="174650" y="26669"/>
                </a:lnTo>
                <a:lnTo>
                  <a:pt x="176542" y="68656"/>
                </a:lnTo>
                <a:lnTo>
                  <a:pt x="184404" y="68656"/>
                </a:lnTo>
                <a:lnTo>
                  <a:pt x="182460" y="26669"/>
                </a:lnTo>
                <a:close/>
              </a:path>
              <a:path w="720725" h="70484">
                <a:moveTo>
                  <a:pt x="142336" y="26669"/>
                </a:moveTo>
                <a:lnTo>
                  <a:pt x="134937" y="26669"/>
                </a:lnTo>
                <a:lnTo>
                  <a:pt x="147281" y="60604"/>
                </a:lnTo>
                <a:lnTo>
                  <a:pt x="147878" y="62458"/>
                </a:lnTo>
                <a:lnTo>
                  <a:pt x="149009" y="63385"/>
                </a:lnTo>
                <a:lnTo>
                  <a:pt x="158889" y="63385"/>
                </a:lnTo>
                <a:lnTo>
                  <a:pt x="160020" y="62458"/>
                </a:lnTo>
                <a:lnTo>
                  <a:pt x="160616" y="60604"/>
                </a:lnTo>
                <a:lnTo>
                  <a:pt x="161632" y="57810"/>
                </a:lnTo>
                <a:lnTo>
                  <a:pt x="153149" y="57810"/>
                </a:lnTo>
                <a:lnTo>
                  <a:pt x="152425" y="55029"/>
                </a:lnTo>
                <a:lnTo>
                  <a:pt x="151726" y="52704"/>
                </a:lnTo>
                <a:lnTo>
                  <a:pt x="142336" y="26669"/>
                </a:lnTo>
                <a:close/>
              </a:path>
              <a:path w="720725" h="70484">
                <a:moveTo>
                  <a:pt x="181241" y="20205"/>
                </a:moveTo>
                <a:lnTo>
                  <a:pt x="168605" y="20205"/>
                </a:lnTo>
                <a:lnTo>
                  <a:pt x="167487" y="21132"/>
                </a:lnTo>
                <a:lnTo>
                  <a:pt x="166878" y="22986"/>
                </a:lnTo>
                <a:lnTo>
                  <a:pt x="156832" y="50850"/>
                </a:lnTo>
                <a:lnTo>
                  <a:pt x="156375" y="52247"/>
                </a:lnTo>
                <a:lnTo>
                  <a:pt x="155663" y="54559"/>
                </a:lnTo>
                <a:lnTo>
                  <a:pt x="154749" y="57810"/>
                </a:lnTo>
                <a:lnTo>
                  <a:pt x="161632" y="57810"/>
                </a:lnTo>
                <a:lnTo>
                  <a:pt x="172948" y="26669"/>
                </a:lnTo>
                <a:lnTo>
                  <a:pt x="182460" y="26669"/>
                </a:lnTo>
                <a:lnTo>
                  <a:pt x="182308" y="23380"/>
                </a:lnTo>
                <a:lnTo>
                  <a:pt x="182308" y="21259"/>
                </a:lnTo>
                <a:lnTo>
                  <a:pt x="181241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89" y="20205"/>
                </a:lnTo>
                <a:lnTo>
                  <a:pt x="81305" y="21132"/>
                </a:lnTo>
                <a:lnTo>
                  <a:pt x="77317" y="24841"/>
                </a:lnTo>
                <a:lnTo>
                  <a:pt x="76098" y="27698"/>
                </a:lnTo>
                <a:lnTo>
                  <a:pt x="75628" y="31546"/>
                </a:lnTo>
                <a:lnTo>
                  <a:pt x="74371" y="43751"/>
                </a:lnTo>
                <a:lnTo>
                  <a:pt x="72948" y="51879"/>
                </a:lnTo>
                <a:lnTo>
                  <a:pt x="62788" y="62699"/>
                </a:lnTo>
                <a:lnTo>
                  <a:pt x="63690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21" y="27317"/>
                </a:lnTo>
                <a:lnTo>
                  <a:pt x="87807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96" y="0"/>
                </a:lnTo>
                <a:lnTo>
                  <a:pt x="22491" y="800"/>
                </a:lnTo>
                <a:lnTo>
                  <a:pt x="22098" y="2387"/>
                </a:lnTo>
                <a:lnTo>
                  <a:pt x="0" y="68656"/>
                </a:lnTo>
                <a:lnTo>
                  <a:pt x="9055" y="68656"/>
                </a:lnTo>
                <a:lnTo>
                  <a:pt x="15824" y="47167"/>
                </a:lnTo>
                <a:lnTo>
                  <a:pt x="52744" y="47167"/>
                </a:lnTo>
                <a:lnTo>
                  <a:pt x="50226" y="39611"/>
                </a:lnTo>
                <a:lnTo>
                  <a:pt x="18211" y="39611"/>
                </a:lnTo>
                <a:lnTo>
                  <a:pt x="26873" y="12344"/>
                </a:lnTo>
                <a:lnTo>
                  <a:pt x="28562" y="6769"/>
                </a:lnTo>
                <a:lnTo>
                  <a:pt x="39280" y="6769"/>
                </a:lnTo>
                <a:lnTo>
                  <a:pt x="37820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44" y="47167"/>
                </a:moveTo>
                <a:lnTo>
                  <a:pt x="44081" y="47167"/>
                </a:lnTo>
                <a:lnTo>
                  <a:pt x="50850" y="68656"/>
                </a:lnTo>
                <a:lnTo>
                  <a:pt x="59905" y="68656"/>
                </a:lnTo>
                <a:lnTo>
                  <a:pt x="52744" y="47167"/>
                </a:lnTo>
                <a:close/>
              </a:path>
              <a:path w="720725" h="70484">
                <a:moveTo>
                  <a:pt x="39280" y="6769"/>
                </a:moveTo>
                <a:lnTo>
                  <a:pt x="31343" y="6769"/>
                </a:lnTo>
                <a:lnTo>
                  <a:pt x="31877" y="8762"/>
                </a:lnTo>
                <a:lnTo>
                  <a:pt x="32448" y="10617"/>
                </a:lnTo>
                <a:lnTo>
                  <a:pt x="33045" y="12344"/>
                </a:lnTo>
                <a:lnTo>
                  <a:pt x="41694" y="39611"/>
                </a:lnTo>
                <a:lnTo>
                  <a:pt x="50226" y="39611"/>
                </a:lnTo>
                <a:lnTo>
                  <a:pt x="39280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6" name="object 25">
            <a:extLst>
              <a:ext uri="{FF2B5EF4-FFF2-40B4-BE49-F238E27FC236}">
                <a16:creationId xmlns:a16="http://schemas.microsoft.com/office/drawing/2014/main" id="{09A1F491-60B5-4308-B9F4-76C2EF70DA58}"/>
              </a:ext>
            </a:extLst>
          </p:cNvPr>
          <p:cNvSpPr/>
          <p:nvPr/>
        </p:nvSpPr>
        <p:spPr>
          <a:xfrm>
            <a:off x="775530" y="5906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01" y="20802"/>
                </a:lnTo>
                <a:lnTo>
                  <a:pt x="507301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2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5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62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5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49" y="51193"/>
                </a:lnTo>
                <a:lnTo>
                  <a:pt x="537349" y="57950"/>
                </a:lnTo>
                <a:lnTo>
                  <a:pt x="536600" y="60286"/>
                </a:lnTo>
                <a:lnTo>
                  <a:pt x="533615" y="62611"/>
                </a:lnTo>
                <a:lnTo>
                  <a:pt x="530910" y="63195"/>
                </a:lnTo>
                <a:lnTo>
                  <a:pt x="545012" y="63195"/>
                </a:lnTo>
                <a:lnTo>
                  <a:pt x="545909" y="60502"/>
                </a:lnTo>
                <a:lnTo>
                  <a:pt x="545878" y="48945"/>
                </a:lnTo>
                <a:lnTo>
                  <a:pt x="544825" y="45885"/>
                </a:lnTo>
                <a:close/>
              </a:path>
              <a:path w="563880" h="89534">
                <a:moveTo>
                  <a:pt x="563321" y="20802"/>
                </a:moveTo>
                <a:lnTo>
                  <a:pt x="554761" y="20802"/>
                </a:lnTo>
                <a:lnTo>
                  <a:pt x="554761" y="69265"/>
                </a:lnTo>
                <a:lnTo>
                  <a:pt x="563321" y="69265"/>
                </a:lnTo>
                <a:lnTo>
                  <a:pt x="563321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74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42" y="69634"/>
                </a:lnTo>
                <a:lnTo>
                  <a:pt x="495553" y="67970"/>
                </a:lnTo>
                <a:lnTo>
                  <a:pt x="494904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51" y="33235"/>
                </a:lnTo>
                <a:lnTo>
                  <a:pt x="470623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4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1995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289" y="68973"/>
                </a:lnTo>
                <a:lnTo>
                  <a:pt x="410806" y="70154"/>
                </a:lnTo>
                <a:lnTo>
                  <a:pt x="419290" y="70154"/>
                </a:lnTo>
                <a:lnTo>
                  <a:pt x="423087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45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47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1995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45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77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28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07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1995" y="26771"/>
                </a:lnTo>
                <a:lnTo>
                  <a:pt x="441566" y="25501"/>
                </a:lnTo>
                <a:lnTo>
                  <a:pt x="436194" y="20777"/>
                </a:lnTo>
                <a:lnTo>
                  <a:pt x="432028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63" y="20802"/>
                </a:lnTo>
                <a:lnTo>
                  <a:pt x="329971" y="21856"/>
                </a:lnTo>
                <a:lnTo>
                  <a:pt x="329971" y="23977"/>
                </a:lnTo>
                <a:lnTo>
                  <a:pt x="327977" y="69265"/>
                </a:lnTo>
                <a:lnTo>
                  <a:pt x="335737" y="69265"/>
                </a:lnTo>
                <a:lnTo>
                  <a:pt x="337527" y="27266"/>
                </a:lnTo>
                <a:lnTo>
                  <a:pt x="346627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40" y="27266"/>
                </a:moveTo>
                <a:lnTo>
                  <a:pt x="378929" y="27266"/>
                </a:lnTo>
                <a:lnTo>
                  <a:pt x="380822" y="69265"/>
                </a:lnTo>
                <a:lnTo>
                  <a:pt x="388683" y="69265"/>
                </a:lnTo>
                <a:lnTo>
                  <a:pt x="386740" y="27266"/>
                </a:lnTo>
                <a:close/>
              </a:path>
              <a:path w="563880" h="89534">
                <a:moveTo>
                  <a:pt x="346627" y="27266"/>
                </a:moveTo>
                <a:lnTo>
                  <a:pt x="339229" y="27266"/>
                </a:lnTo>
                <a:lnTo>
                  <a:pt x="351561" y="61201"/>
                </a:lnTo>
                <a:lnTo>
                  <a:pt x="352158" y="63068"/>
                </a:lnTo>
                <a:lnTo>
                  <a:pt x="353288" y="63982"/>
                </a:lnTo>
                <a:lnTo>
                  <a:pt x="363169" y="63982"/>
                </a:lnTo>
                <a:lnTo>
                  <a:pt x="364299" y="63068"/>
                </a:lnTo>
                <a:lnTo>
                  <a:pt x="364896" y="61201"/>
                </a:lnTo>
                <a:lnTo>
                  <a:pt x="365908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46627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11" y="51447"/>
                </a:lnTo>
                <a:lnTo>
                  <a:pt x="360654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08" y="58420"/>
                </a:lnTo>
                <a:lnTo>
                  <a:pt x="377240" y="27266"/>
                </a:lnTo>
                <a:lnTo>
                  <a:pt x="386740" y="27266"/>
                </a:lnTo>
                <a:lnTo>
                  <a:pt x="386588" y="23977"/>
                </a:lnTo>
                <a:lnTo>
                  <a:pt x="386461" y="21729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22" y="65481"/>
                </a:lnTo>
                <a:lnTo>
                  <a:pt x="310492" y="65481"/>
                </a:lnTo>
                <a:lnTo>
                  <a:pt x="312319" y="63093"/>
                </a:lnTo>
                <a:lnTo>
                  <a:pt x="291363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54" y="29464"/>
                </a:lnTo>
                <a:lnTo>
                  <a:pt x="288060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492" y="65481"/>
                </a:moveTo>
                <a:lnTo>
                  <a:pt x="279222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40" y="68554"/>
                </a:lnTo>
                <a:lnTo>
                  <a:pt x="310492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85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19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58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0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58" y="19608"/>
                </a:lnTo>
                <a:close/>
              </a:path>
              <a:path w="563880" h="89534">
                <a:moveTo>
                  <a:pt x="254619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78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30" y="39408"/>
                </a:lnTo>
                <a:lnTo>
                  <a:pt x="219329" y="40449"/>
                </a:lnTo>
                <a:lnTo>
                  <a:pt x="214617" y="44627"/>
                </a:lnTo>
                <a:lnTo>
                  <a:pt x="213436" y="47574"/>
                </a:lnTo>
                <a:lnTo>
                  <a:pt x="213436" y="60934"/>
                </a:lnTo>
                <a:lnTo>
                  <a:pt x="214731" y="64274"/>
                </a:lnTo>
                <a:lnTo>
                  <a:pt x="219913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46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71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19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52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31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11" y="26771"/>
                </a:lnTo>
                <a:lnTo>
                  <a:pt x="254619" y="26771"/>
                </a:lnTo>
                <a:lnTo>
                  <a:pt x="254190" y="25501"/>
                </a:lnTo>
                <a:lnTo>
                  <a:pt x="248818" y="20777"/>
                </a:lnTo>
                <a:lnTo>
                  <a:pt x="244652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51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1" y="40805"/>
                </a:lnTo>
                <a:lnTo>
                  <a:pt x="170649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29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390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43" y="40805"/>
                </a:lnTo>
                <a:lnTo>
                  <a:pt x="192781" y="40805"/>
                </a:lnTo>
                <a:lnTo>
                  <a:pt x="195567" y="38087"/>
                </a:lnTo>
                <a:lnTo>
                  <a:pt x="196164" y="37185"/>
                </a:lnTo>
                <a:lnTo>
                  <a:pt x="198018" y="33693"/>
                </a:lnTo>
                <a:lnTo>
                  <a:pt x="198818" y="32296"/>
                </a:lnTo>
                <a:lnTo>
                  <a:pt x="199364" y="31076"/>
                </a:lnTo>
                <a:lnTo>
                  <a:pt x="202018" y="24536"/>
                </a:lnTo>
                <a:lnTo>
                  <a:pt x="202603" y="22987"/>
                </a:lnTo>
                <a:lnTo>
                  <a:pt x="203390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40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78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78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58" y="27368"/>
                </a:lnTo>
                <a:lnTo>
                  <a:pt x="149078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52" y="29921"/>
                </a:lnTo>
                <a:lnTo>
                  <a:pt x="89789" y="32080"/>
                </a:lnTo>
                <a:lnTo>
                  <a:pt x="89852" y="39408"/>
                </a:lnTo>
                <a:lnTo>
                  <a:pt x="65404" y="39408"/>
                </a:lnTo>
                <a:lnTo>
                  <a:pt x="62103" y="40449"/>
                </a:lnTo>
                <a:lnTo>
                  <a:pt x="57391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20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39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34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05" y="28067"/>
                </a:lnTo>
                <a:lnTo>
                  <a:pt x="68325" y="27203"/>
                </a:lnTo>
                <a:lnTo>
                  <a:pt x="75285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190" y="69265"/>
                </a:lnTo>
                <a:lnTo>
                  <a:pt x="6756" y="69862"/>
                </a:lnTo>
                <a:lnTo>
                  <a:pt x="13957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64" y="62560"/>
                </a:lnTo>
                <a:lnTo>
                  <a:pt x="8750" y="62496"/>
                </a:lnTo>
                <a:lnTo>
                  <a:pt x="8750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50" y="30149"/>
                </a:lnTo>
                <a:lnTo>
                  <a:pt x="8750" y="7861"/>
                </a:lnTo>
                <a:lnTo>
                  <a:pt x="41389" y="7861"/>
                </a:lnTo>
                <a:lnTo>
                  <a:pt x="42189" y="596"/>
                </a:lnTo>
                <a:lnTo>
                  <a:pt x="35217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48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48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7" name="object 26">
            <a:extLst>
              <a:ext uri="{FF2B5EF4-FFF2-40B4-BE49-F238E27FC236}">
                <a16:creationId xmlns:a16="http://schemas.microsoft.com/office/drawing/2014/main" id="{28F6D302-7776-4335-9EFD-A3C9171B99D3}"/>
              </a:ext>
            </a:extLst>
          </p:cNvPr>
          <p:cNvSpPr/>
          <p:nvPr/>
        </p:nvSpPr>
        <p:spPr>
          <a:xfrm>
            <a:off x="774201" y="425570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40" y="103365"/>
                </a:lnTo>
                <a:lnTo>
                  <a:pt x="984491" y="105181"/>
                </a:lnTo>
                <a:lnTo>
                  <a:pt x="992504" y="105181"/>
                </a:lnTo>
                <a:lnTo>
                  <a:pt x="990206" y="110883"/>
                </a:lnTo>
                <a:lnTo>
                  <a:pt x="987094" y="114896"/>
                </a:lnTo>
                <a:lnTo>
                  <a:pt x="983195" y="117195"/>
                </a:lnTo>
                <a:lnTo>
                  <a:pt x="979385" y="119494"/>
                </a:lnTo>
                <a:lnTo>
                  <a:pt x="972921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34" y="127550"/>
                </a:lnTo>
                <a:lnTo>
                  <a:pt x="1004639" y="121813"/>
                </a:lnTo>
                <a:lnTo>
                  <a:pt x="1005480" y="120497"/>
                </a:lnTo>
                <a:lnTo>
                  <a:pt x="972921" y="120497"/>
                </a:lnTo>
                <a:lnTo>
                  <a:pt x="963815" y="120205"/>
                </a:lnTo>
                <a:lnTo>
                  <a:pt x="1005666" y="120205"/>
                </a:lnTo>
                <a:lnTo>
                  <a:pt x="1009178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08" y="90144"/>
                </a:lnTo>
                <a:lnTo>
                  <a:pt x="996315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22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48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699" y="133718"/>
                </a:lnTo>
                <a:lnTo>
                  <a:pt x="897680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699" y="87591"/>
                </a:lnTo>
                <a:lnTo>
                  <a:pt x="897699" y="53644"/>
                </a:lnTo>
                <a:lnTo>
                  <a:pt x="904913" y="48933"/>
                </a:lnTo>
                <a:lnTo>
                  <a:pt x="911021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48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2" y="103068"/>
                </a:lnTo>
                <a:lnTo>
                  <a:pt x="908330" y="105322"/>
                </a:lnTo>
                <a:lnTo>
                  <a:pt x="914858" y="106674"/>
                </a:lnTo>
                <a:lnTo>
                  <a:pt x="922045" y="107124"/>
                </a:lnTo>
                <a:lnTo>
                  <a:pt x="931760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599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80" y="105181"/>
                </a:lnTo>
                <a:lnTo>
                  <a:pt x="766208" y="105572"/>
                </a:lnTo>
                <a:lnTo>
                  <a:pt x="774509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51" y="106070"/>
                </a:lnTo>
                <a:lnTo>
                  <a:pt x="813473" y="104305"/>
                </a:lnTo>
                <a:lnTo>
                  <a:pt x="822680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6" y="70777"/>
                </a:lnTo>
                <a:lnTo>
                  <a:pt x="822579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6" y="70777"/>
                </a:moveTo>
                <a:lnTo>
                  <a:pt x="795642" y="70777"/>
                </a:lnTo>
                <a:lnTo>
                  <a:pt x="798715" y="71424"/>
                </a:lnTo>
                <a:lnTo>
                  <a:pt x="801827" y="74028"/>
                </a:lnTo>
                <a:lnTo>
                  <a:pt x="802601" y="76631"/>
                </a:lnTo>
                <a:lnTo>
                  <a:pt x="802601" y="84645"/>
                </a:lnTo>
                <a:lnTo>
                  <a:pt x="801827" y="87325"/>
                </a:lnTo>
                <a:lnTo>
                  <a:pt x="798715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6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38" y="126352"/>
                </a:lnTo>
                <a:lnTo>
                  <a:pt x="673836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79" y="70734"/>
                </a:lnTo>
                <a:lnTo>
                  <a:pt x="670132" y="80381"/>
                </a:lnTo>
                <a:lnTo>
                  <a:pt x="667080" y="89255"/>
                </a:lnTo>
                <a:lnTo>
                  <a:pt x="686612" y="89255"/>
                </a:lnTo>
                <a:lnTo>
                  <a:pt x="696277" y="48488"/>
                </a:lnTo>
                <a:lnTo>
                  <a:pt x="698779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28" y="31102"/>
                </a:lnTo>
                <a:lnTo>
                  <a:pt x="573328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22" y="106984"/>
                </a:lnTo>
                <a:lnTo>
                  <a:pt x="515684" y="106166"/>
                </a:lnTo>
                <a:lnTo>
                  <a:pt x="522889" y="103711"/>
                </a:lnTo>
                <a:lnTo>
                  <a:pt x="529433" y="99623"/>
                </a:lnTo>
                <a:lnTo>
                  <a:pt x="535317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17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02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56" y="28994"/>
                </a:lnTo>
                <a:lnTo>
                  <a:pt x="516521" y="29220"/>
                </a:lnTo>
                <a:lnTo>
                  <a:pt x="506998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43" y="47637"/>
                </a:lnTo>
                <a:lnTo>
                  <a:pt x="498564" y="47104"/>
                </a:lnTo>
                <a:lnTo>
                  <a:pt x="506814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67" y="39141"/>
                </a:lnTo>
                <a:lnTo>
                  <a:pt x="543255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0" y="82222"/>
                </a:lnTo>
                <a:lnTo>
                  <a:pt x="428942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51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39" y="133718"/>
                </a:lnTo>
                <a:lnTo>
                  <a:pt x="331139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27" y="99910"/>
                </a:lnTo>
                <a:lnTo>
                  <a:pt x="376961" y="98640"/>
                </a:lnTo>
                <a:lnTo>
                  <a:pt x="379985" y="93590"/>
                </a:lnTo>
                <a:lnTo>
                  <a:pt x="380955" y="90601"/>
                </a:lnTo>
                <a:lnTo>
                  <a:pt x="344563" y="90601"/>
                </a:lnTo>
                <a:lnTo>
                  <a:pt x="338950" y="89598"/>
                </a:lnTo>
                <a:lnTo>
                  <a:pt x="331139" y="87591"/>
                </a:lnTo>
                <a:lnTo>
                  <a:pt x="331139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66" y="46583"/>
                </a:lnTo>
                <a:lnTo>
                  <a:pt x="378555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27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51" y="104305"/>
                </a:lnTo>
                <a:lnTo>
                  <a:pt x="375927" y="99910"/>
                </a:lnTo>
                <a:close/>
              </a:path>
              <a:path w="1039494" h="136525">
                <a:moveTo>
                  <a:pt x="380366" y="46583"/>
                </a:moveTo>
                <a:lnTo>
                  <a:pt x="353771" y="46583"/>
                </a:lnTo>
                <a:lnTo>
                  <a:pt x="356781" y="48107"/>
                </a:lnTo>
                <a:lnTo>
                  <a:pt x="360184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08" y="83591"/>
                </a:lnTo>
                <a:lnTo>
                  <a:pt x="356400" y="89204"/>
                </a:lnTo>
                <a:lnTo>
                  <a:pt x="352971" y="90601"/>
                </a:lnTo>
                <a:lnTo>
                  <a:pt x="380955" y="90601"/>
                </a:lnTo>
                <a:lnTo>
                  <a:pt x="382144" y="86936"/>
                </a:lnTo>
                <a:lnTo>
                  <a:pt x="383438" y="78679"/>
                </a:lnTo>
                <a:lnTo>
                  <a:pt x="383870" y="68821"/>
                </a:lnTo>
                <a:lnTo>
                  <a:pt x="382265" y="51469"/>
                </a:lnTo>
                <a:lnTo>
                  <a:pt x="380366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40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55" y="41922"/>
                </a:lnTo>
                <a:lnTo>
                  <a:pt x="377448" y="39074"/>
                </a:lnTo>
                <a:lnTo>
                  <a:pt x="369420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14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14" y="133718"/>
                </a:lnTo>
                <a:lnTo>
                  <a:pt x="253314" y="106680"/>
                </a:lnTo>
                <a:lnTo>
                  <a:pt x="263358" y="105467"/>
                </a:lnTo>
                <a:lnTo>
                  <a:pt x="288514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06" y="45377"/>
                </a:lnTo>
                <a:lnTo>
                  <a:pt x="288229" y="44980"/>
                </a:lnTo>
                <a:lnTo>
                  <a:pt x="253314" y="29298"/>
                </a:lnTo>
                <a:lnTo>
                  <a:pt x="253314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06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14" y="54686"/>
                </a:lnTo>
                <a:lnTo>
                  <a:pt x="272237" y="60299"/>
                </a:lnTo>
                <a:lnTo>
                  <a:pt x="272237" y="76034"/>
                </a:lnTo>
                <a:lnTo>
                  <a:pt x="270814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14" y="90601"/>
                </a:lnTo>
                <a:lnTo>
                  <a:pt x="291114" y="84855"/>
                </a:lnTo>
                <a:lnTo>
                  <a:pt x="292844" y="77182"/>
                </a:lnTo>
                <a:lnTo>
                  <a:pt x="293420" y="68211"/>
                </a:lnTo>
                <a:lnTo>
                  <a:pt x="292844" y="59172"/>
                </a:lnTo>
                <a:lnTo>
                  <a:pt x="291114" y="51428"/>
                </a:lnTo>
                <a:lnTo>
                  <a:pt x="288406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25" y="31102"/>
                </a:lnTo>
                <a:lnTo>
                  <a:pt x="105625" y="105181"/>
                </a:lnTo>
                <a:lnTo>
                  <a:pt x="124548" y="105181"/>
                </a:lnTo>
                <a:lnTo>
                  <a:pt x="141237" y="81584"/>
                </a:lnTo>
                <a:lnTo>
                  <a:pt x="124548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37" y="81584"/>
                </a:lnTo>
                <a:lnTo>
                  <a:pt x="152501" y="65659"/>
                </a:lnTo>
                <a:lnTo>
                  <a:pt x="155105" y="61950"/>
                </a:lnTo>
                <a:lnTo>
                  <a:pt x="156959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391" y="1498"/>
                </a:lnTo>
                <a:lnTo>
                  <a:pt x="57391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690D363C-A9F3-4B55-AFA3-6E6F41529CE2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9" name="object 28">
            <a:extLst>
              <a:ext uri="{FF2B5EF4-FFF2-40B4-BE49-F238E27FC236}">
                <a16:creationId xmlns:a16="http://schemas.microsoft.com/office/drawing/2014/main" id="{6A472A2C-BC10-4322-B360-EA67F11CE008}"/>
              </a:ext>
            </a:extLst>
          </p:cNvPr>
          <p:cNvSpPr txBox="1"/>
          <p:nvPr/>
        </p:nvSpPr>
        <p:spPr>
          <a:xfrm>
            <a:off x="267372" y="6491936"/>
            <a:ext cx="119130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Almaty</a:t>
            </a:r>
            <a:r>
              <a:rPr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02</a:t>
            </a:r>
            <a:r>
              <a:rPr lang="ru-RU"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10" name="object 29">
            <a:extLst>
              <a:ext uri="{FF2B5EF4-FFF2-40B4-BE49-F238E27FC236}">
                <a16:creationId xmlns:a16="http://schemas.microsoft.com/office/drawing/2014/main" id="{56CBFE1D-E467-46D5-8607-A0255EB7A05D}"/>
              </a:ext>
            </a:extLst>
          </p:cNvPr>
          <p:cNvSpPr txBox="1"/>
          <p:nvPr/>
        </p:nvSpPr>
        <p:spPr>
          <a:xfrm>
            <a:off x="267372" y="6247866"/>
            <a:ext cx="93368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Qazaqstan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11" name="object 23">
            <a:extLst>
              <a:ext uri="{FF2B5EF4-FFF2-40B4-BE49-F238E27FC236}">
                <a16:creationId xmlns:a16="http://schemas.microsoft.com/office/drawing/2014/main" id="{3D4AA408-CC98-4487-A45A-3EDF42F513F5}"/>
              </a:ext>
            </a:extLst>
          </p:cNvPr>
          <p:cNvSpPr/>
          <p:nvPr/>
        </p:nvSpPr>
        <p:spPr>
          <a:xfrm>
            <a:off x="191344" y="188640"/>
            <a:ext cx="409359" cy="5004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D4792AC8-9027-4391-9884-2CC3CC178DC1}"/>
              </a:ext>
            </a:extLst>
          </p:cNvPr>
          <p:cNvSpPr/>
          <p:nvPr/>
        </p:nvSpPr>
        <p:spPr>
          <a:xfrm>
            <a:off x="378986" y="5687677"/>
            <a:ext cx="3874025" cy="45719"/>
          </a:xfrm>
          <a:custGeom>
            <a:avLst/>
            <a:gdLst/>
            <a:ahLst/>
            <a:cxnLst/>
            <a:rect l="l" t="t" r="r" b="b"/>
            <a:pathLst>
              <a:path w="5373370">
                <a:moveTo>
                  <a:pt x="0" y="0"/>
                </a:moveTo>
                <a:lnTo>
                  <a:pt x="5373116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3" name="object 13">
            <a:extLst>
              <a:ext uri="{FF2B5EF4-FFF2-40B4-BE49-F238E27FC236}">
                <a16:creationId xmlns:a16="http://schemas.microsoft.com/office/drawing/2014/main" id="{4CF9ED6A-B070-4AEB-808B-13B5A26DB77C}"/>
              </a:ext>
            </a:extLst>
          </p:cNvPr>
          <p:cNvSpPr/>
          <p:nvPr/>
        </p:nvSpPr>
        <p:spPr>
          <a:xfrm>
            <a:off x="7975330" y="5642787"/>
            <a:ext cx="3619445" cy="148862"/>
          </a:xfrm>
          <a:custGeom>
            <a:avLst/>
            <a:gdLst/>
            <a:ahLst/>
            <a:cxnLst/>
            <a:rect l="l" t="t" r="r" b="b"/>
            <a:pathLst>
              <a:path w="5375275">
                <a:moveTo>
                  <a:pt x="0" y="0"/>
                </a:moveTo>
                <a:lnTo>
                  <a:pt x="5374893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4" name="object 16">
            <a:extLst>
              <a:ext uri="{FF2B5EF4-FFF2-40B4-BE49-F238E27FC236}">
                <a16:creationId xmlns:a16="http://schemas.microsoft.com/office/drawing/2014/main" id="{6FEAA41E-3C87-476A-B718-E7869E0AC02D}"/>
              </a:ext>
            </a:extLst>
          </p:cNvPr>
          <p:cNvSpPr txBox="1"/>
          <p:nvPr/>
        </p:nvSpPr>
        <p:spPr>
          <a:xfrm>
            <a:off x="1631504" y="5531596"/>
            <a:ext cx="887736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202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жылдың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тоқсанына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арналған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міндеттер</a:t>
            </a:r>
            <a:endParaRPr sz="1200" dirty="0">
              <a:solidFill>
                <a:srgbClr val="116EC3"/>
              </a:solidFill>
              <a:latin typeface="Century Gothic" panose="020B0502020202020204" pitchFamily="34" charset="0"/>
              <a:cs typeface="Myanmar Text" panose="020B0502040204020203" pitchFamily="34" charset="0"/>
            </a:endParaRPr>
          </a:p>
        </p:txBody>
      </p:sp>
      <p:sp>
        <p:nvSpPr>
          <p:cNvPr id="15" name="Google Shape;617;p39">
            <a:extLst>
              <a:ext uri="{FF2B5EF4-FFF2-40B4-BE49-F238E27FC236}">
                <a16:creationId xmlns:a16="http://schemas.microsoft.com/office/drawing/2014/main" id="{83976385-18FF-4BBF-8C66-77E05B6F456A}"/>
              </a:ext>
            </a:extLst>
          </p:cNvPr>
          <p:cNvSpPr/>
          <p:nvPr/>
        </p:nvSpPr>
        <p:spPr>
          <a:xfrm>
            <a:off x="4200839" y="5631315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617;p39">
            <a:extLst>
              <a:ext uri="{FF2B5EF4-FFF2-40B4-BE49-F238E27FC236}">
                <a16:creationId xmlns:a16="http://schemas.microsoft.com/office/drawing/2014/main" id="{D7806E57-F202-490A-B12C-BE451E496A99}"/>
              </a:ext>
            </a:extLst>
          </p:cNvPr>
          <p:cNvSpPr/>
          <p:nvPr/>
        </p:nvSpPr>
        <p:spPr>
          <a:xfrm>
            <a:off x="7865287" y="5595189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499;p39">
            <a:extLst>
              <a:ext uri="{FF2B5EF4-FFF2-40B4-BE49-F238E27FC236}">
                <a16:creationId xmlns:a16="http://schemas.microsoft.com/office/drawing/2014/main" id="{4B0B175C-9514-48C2-8813-BA0AC6CB572E}"/>
              </a:ext>
            </a:extLst>
          </p:cNvPr>
          <p:cNvSpPr txBox="1"/>
          <p:nvPr/>
        </p:nvSpPr>
        <p:spPr>
          <a:xfrm>
            <a:off x="7896200" y="5725021"/>
            <a:ext cx="3095215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70C0"/>
              </a:buClr>
              <a:buSzPts val="1000"/>
            </a:pP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КДҚ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ғимараты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ШЖҚ «Алматы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ласының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ұтқар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ызметіне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» МКК ББ</a:t>
            </a:r>
            <a:r>
              <a:rPr lang="kk-KZ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Ә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алансына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беру</a:t>
            </a:r>
          </a:p>
        </p:txBody>
      </p:sp>
      <p:sp>
        <p:nvSpPr>
          <p:cNvPr id="20" name="Google Shape;499;p39">
            <a:extLst>
              <a:ext uri="{FF2B5EF4-FFF2-40B4-BE49-F238E27FC236}">
                <a16:creationId xmlns:a16="http://schemas.microsoft.com/office/drawing/2014/main" id="{915D20FA-65C9-4DAB-9CF8-4B14B59C8B0C}"/>
              </a:ext>
            </a:extLst>
          </p:cNvPr>
          <p:cNvSpPr txBox="1"/>
          <p:nvPr/>
        </p:nvSpPr>
        <p:spPr>
          <a:xfrm>
            <a:off x="674702" y="5793026"/>
            <a:ext cx="4631648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70C0"/>
              </a:buClr>
              <a:buSzPts val="1000"/>
            </a:pP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КДҚ-112 162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операторы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оқытуд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,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сондай-ақ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АЖ 101, 102, 103-ті БКДҚ-112-мен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интеграциялауд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аяқта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1BD83F5-535A-4135-B183-B997F558A80D}"/>
              </a:ext>
            </a:extLst>
          </p:cNvPr>
          <p:cNvSpPr txBox="1"/>
          <p:nvPr/>
        </p:nvSpPr>
        <p:spPr>
          <a:xfrm>
            <a:off x="3391802" y="296344"/>
            <a:ext cx="55552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err="1">
                <a:latin typeface="Century Gothic" panose="020B0502020202020204" pitchFamily="34" charset="0"/>
              </a:rPr>
              <a:t>Бірыңғай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кезекші-диспетчерлік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қызмет</a:t>
            </a:r>
            <a:r>
              <a:rPr lang="ru-RU" sz="2000" b="1" dirty="0">
                <a:latin typeface="Century Gothic" panose="020B0502020202020204" pitchFamily="34" charset="0"/>
              </a:rPr>
              <a:t> «БКДҚ-112»</a:t>
            </a:r>
          </a:p>
        </p:txBody>
      </p:sp>
      <p:sp>
        <p:nvSpPr>
          <p:cNvPr id="29" name="object 7">
            <a:extLst>
              <a:ext uri="{FF2B5EF4-FFF2-40B4-BE49-F238E27FC236}">
                <a16:creationId xmlns:a16="http://schemas.microsoft.com/office/drawing/2014/main" id="{BB9EDE2C-5CC3-4A38-840D-E7CDEF8C3BBC}"/>
              </a:ext>
            </a:extLst>
          </p:cNvPr>
          <p:cNvSpPr txBox="1"/>
          <p:nvPr/>
        </p:nvSpPr>
        <p:spPr>
          <a:xfrm>
            <a:off x="382378" y="1766127"/>
            <a:ext cx="5130343" cy="284347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Әуезов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, 82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ғимараты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қ</a:t>
            </a:r>
            <a:r>
              <a:rPr lang="kk-KZ" sz="1600" dirty="0">
                <a:latin typeface="Century Gothic" panose="020B0502020202020204" pitchFamily="34" charset="0"/>
                <a:cs typeface="Foundry Monoline OT3"/>
              </a:rPr>
              <a:t>ұру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аяқталд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Алматы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лас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әкім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аппаратының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ШЖҚ «Алматы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ұтқару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ызмет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» МКК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юджеттік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ағдарламаның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әкімшіс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Алматы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лас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әкімінің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улысыме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екітілге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en-US" sz="1600" dirty="0">
                <a:latin typeface="Century Gothic" panose="020B0502020202020204" pitchFamily="34" charset="0"/>
                <a:cs typeface="Foundry Monoline OT3"/>
              </a:rPr>
              <a:t>Avaya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жабдығ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көшірілд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Әуезов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, 82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ғимараттарының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3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батынд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серверлік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үй-жайд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осымш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кондиционерлер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орнатылд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Тұрақт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уат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көз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осылға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.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DA9D3E74-DF40-47BD-9278-3787F57A5AE0}"/>
              </a:ext>
            </a:extLst>
          </p:cNvPr>
          <p:cNvSpPr/>
          <p:nvPr/>
        </p:nvSpPr>
        <p:spPr>
          <a:xfrm>
            <a:off x="845944" y="1313989"/>
            <a:ext cx="63590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marR="3810" algn="ctr">
              <a:spcBef>
                <a:spcPts val="75"/>
              </a:spcBef>
            </a:pPr>
            <a:r>
              <a:rPr lang="ru-RU" b="1" spc="-15" dirty="0">
                <a:latin typeface="Century Gothic" panose="020B0502020202020204" pitchFamily="34" charset="0"/>
              </a:rPr>
              <a:t>БКДҚ-112 </a:t>
            </a:r>
            <a:r>
              <a:rPr lang="ru-RU" b="1" spc="-15" dirty="0" err="1">
                <a:latin typeface="Century Gothic" panose="020B0502020202020204" pitchFamily="34" charset="0"/>
              </a:rPr>
              <a:t>жобасы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бойынша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аяқталған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жұмыстар</a:t>
            </a:r>
            <a:r>
              <a:rPr lang="ru-RU" b="1" spc="-15" dirty="0">
                <a:latin typeface="Century Gothic" panose="020B0502020202020204" pitchFamily="34" charset="0"/>
              </a:rPr>
              <a:t>: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D1443C0-2F30-416E-AD4A-2F5000D36AA7}"/>
              </a:ext>
            </a:extLst>
          </p:cNvPr>
          <p:cNvSpPr/>
          <p:nvPr/>
        </p:nvSpPr>
        <p:spPr>
          <a:xfrm>
            <a:off x="7965213" y="1290857"/>
            <a:ext cx="1643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latin typeface="Century Gothic" pitchFamily="34" charset="0"/>
              </a:rPr>
              <a:t>Жұмыста</a:t>
            </a:r>
            <a:endParaRPr lang="ru-RU" b="1" dirty="0">
              <a:latin typeface="Century Gothic" pitchFamily="34" charset="0"/>
            </a:endParaRPr>
          </a:p>
        </p:txBody>
      </p:sp>
      <p:sp>
        <p:nvSpPr>
          <p:cNvPr id="33" name="object 7">
            <a:extLst>
              <a:ext uri="{FF2B5EF4-FFF2-40B4-BE49-F238E27FC236}">
                <a16:creationId xmlns:a16="http://schemas.microsoft.com/office/drawing/2014/main" id="{237CC79B-BBBB-4193-B003-99C59FC82B8C}"/>
              </a:ext>
            </a:extLst>
          </p:cNvPr>
          <p:cNvSpPr txBox="1"/>
          <p:nvPr/>
        </p:nvSpPr>
        <p:spPr>
          <a:xfrm>
            <a:off x="7291688" y="1683321"/>
            <a:ext cx="4631647" cy="337913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арлық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шұғыл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ызметтерме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(101, 102, 103) БКДҚ-112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операторлары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оқыту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және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101, 102, 103 АЖ БКДҚ-112 АЖ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интеграциялау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мүмкіндіг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жұмыс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асталд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ШЖҚ «Алматы </a:t>
            </a:r>
            <a:r>
              <a:rPr lang="ru-RU" sz="1600" b="1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cs typeface="Foundry Monoline OT3"/>
              </a:rPr>
              <a:t>құтқару</a:t>
            </a: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cs typeface="Foundry Monoline OT3"/>
              </a:rPr>
              <a:t>қызметі</a:t>
            </a: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» МКК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алансын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негізг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ұралдар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жабдықтарын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былдау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жұмыс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тоб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екітілд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ШЖҚ «Алматы </a:t>
            </a:r>
            <a:r>
              <a:rPr lang="ru-RU" sz="1600" b="1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cs typeface="Foundry Monoline OT3"/>
              </a:rPr>
              <a:t>құтқару</a:t>
            </a: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cs typeface="Foundry Monoline OT3"/>
              </a:rPr>
              <a:t>қызметі</a:t>
            </a:r>
            <a:r>
              <a:rPr lang="ru-RU" sz="1600" b="1" dirty="0">
                <a:latin typeface="Century Gothic" panose="020B0502020202020204" pitchFamily="34" charset="0"/>
                <a:cs typeface="Foundry Monoline OT3"/>
              </a:rPr>
              <a:t>» МКК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алансына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негізгі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ұралдард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қабылдау-тапсыру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жұмыстар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Foundry Monoline OT3"/>
              </a:rPr>
              <a:t>басталды</a:t>
            </a:r>
            <a:r>
              <a:rPr lang="ru-RU" sz="1600" dirty="0">
                <a:latin typeface="Century Gothic" panose="020B0502020202020204" pitchFamily="34" charset="0"/>
                <a:cs typeface="Foundry Monoline OT3"/>
              </a:rPr>
              <a:t>.</a:t>
            </a:r>
            <a:endParaRPr lang="ru-RU" sz="1600" b="1" dirty="0">
              <a:latin typeface="Century Gothic" pitchFamily="34" charset="0"/>
            </a:endParaRPr>
          </a:p>
        </p:txBody>
      </p:sp>
      <p:sp>
        <p:nvSpPr>
          <p:cNvPr id="34" name="Google Shape;599;p39">
            <a:extLst>
              <a:ext uri="{FF2B5EF4-FFF2-40B4-BE49-F238E27FC236}">
                <a16:creationId xmlns:a16="http://schemas.microsoft.com/office/drawing/2014/main" id="{443E9003-EB28-4533-B8D9-1C6B52D2D4D6}"/>
              </a:ext>
            </a:extLst>
          </p:cNvPr>
          <p:cNvSpPr/>
          <p:nvPr/>
        </p:nvSpPr>
        <p:spPr>
          <a:xfrm>
            <a:off x="7619378" y="1337341"/>
            <a:ext cx="276822" cy="282646"/>
          </a:xfrm>
          <a:prstGeom prst="ellipse">
            <a:avLst/>
          </a:prstGeom>
          <a:solidFill>
            <a:srgbClr val="FFC000"/>
          </a:solidFill>
          <a:ln w="19050" cap="flat" cmpd="sng">
            <a:solidFill>
              <a:srgbClr val="64646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" name="Google Shape;598;p39">
            <a:extLst>
              <a:ext uri="{FF2B5EF4-FFF2-40B4-BE49-F238E27FC236}">
                <a16:creationId xmlns:a16="http://schemas.microsoft.com/office/drawing/2014/main" id="{AB93809E-24AA-400D-A532-8B05E2A5D117}"/>
              </a:ext>
            </a:extLst>
          </p:cNvPr>
          <p:cNvSpPr/>
          <p:nvPr/>
        </p:nvSpPr>
        <p:spPr>
          <a:xfrm>
            <a:off x="579238" y="1337787"/>
            <a:ext cx="254069" cy="282646"/>
          </a:xfrm>
          <a:prstGeom prst="ellipse">
            <a:avLst/>
          </a:prstGeom>
          <a:solidFill>
            <a:srgbClr val="00B050"/>
          </a:solidFill>
          <a:ln w="19050" cap="flat" cmpd="sng">
            <a:solidFill>
              <a:srgbClr val="64646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7450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2">
            <a:extLst>
              <a:ext uri="{FF2B5EF4-FFF2-40B4-BE49-F238E27FC236}">
                <a16:creationId xmlns:a16="http://schemas.microsoft.com/office/drawing/2014/main" id="{EC44A9D8-3B3E-4418-81C0-3E1534462BCD}"/>
              </a:ext>
            </a:extLst>
          </p:cNvPr>
          <p:cNvSpPr/>
          <p:nvPr/>
        </p:nvSpPr>
        <p:spPr>
          <a:xfrm>
            <a:off x="179997" y="179997"/>
            <a:ext cx="11832590" cy="6498590"/>
          </a:xfrm>
          <a:custGeom>
            <a:avLst/>
            <a:gdLst/>
            <a:ahLst/>
            <a:cxnLst/>
            <a:rect l="l" t="t" r="r" b="b"/>
            <a:pathLst>
              <a:path w="11832590" h="6498590">
                <a:moveTo>
                  <a:pt x="0" y="0"/>
                </a:moveTo>
                <a:lnTo>
                  <a:pt x="11832005" y="0"/>
                </a:lnTo>
                <a:lnTo>
                  <a:pt x="11832005" y="6498005"/>
                </a:lnTo>
                <a:lnTo>
                  <a:pt x="0" y="649800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EE3235"/>
            </a:solidFill>
          </a:ln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5" name="object 24">
            <a:extLst>
              <a:ext uri="{FF2B5EF4-FFF2-40B4-BE49-F238E27FC236}">
                <a16:creationId xmlns:a16="http://schemas.microsoft.com/office/drawing/2014/main" id="{89BDF0C9-BB82-45B1-9C6D-2AE0A002A9DA}"/>
              </a:ext>
            </a:extLst>
          </p:cNvPr>
          <p:cNvSpPr/>
          <p:nvPr/>
        </p:nvSpPr>
        <p:spPr>
          <a:xfrm>
            <a:off x="768430" y="314360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96" y="20205"/>
                </a:moveTo>
                <a:lnTo>
                  <a:pt x="664641" y="20205"/>
                </a:lnTo>
                <a:lnTo>
                  <a:pt x="664641" y="68656"/>
                </a:lnTo>
                <a:lnTo>
                  <a:pt x="664933" y="68656"/>
                </a:lnTo>
                <a:lnTo>
                  <a:pt x="670039" y="69062"/>
                </a:lnTo>
                <a:lnTo>
                  <a:pt x="676935" y="69265"/>
                </a:lnTo>
                <a:lnTo>
                  <a:pt x="692073" y="69265"/>
                </a:lnTo>
                <a:lnTo>
                  <a:pt x="696607" y="68186"/>
                </a:lnTo>
                <a:lnTo>
                  <a:pt x="701916" y="63868"/>
                </a:lnTo>
                <a:lnTo>
                  <a:pt x="702343" y="62598"/>
                </a:lnTo>
                <a:lnTo>
                  <a:pt x="684339" y="62598"/>
                </a:lnTo>
                <a:lnTo>
                  <a:pt x="672896" y="62496"/>
                </a:lnTo>
                <a:lnTo>
                  <a:pt x="672896" y="45275"/>
                </a:lnTo>
                <a:lnTo>
                  <a:pt x="702162" y="45275"/>
                </a:lnTo>
                <a:lnTo>
                  <a:pt x="701890" y="44488"/>
                </a:lnTo>
                <a:lnTo>
                  <a:pt x="696442" y="40106"/>
                </a:lnTo>
                <a:lnTo>
                  <a:pt x="691502" y="39001"/>
                </a:lnTo>
                <a:lnTo>
                  <a:pt x="672896" y="39001"/>
                </a:lnTo>
                <a:lnTo>
                  <a:pt x="672896" y="20205"/>
                </a:lnTo>
                <a:close/>
              </a:path>
              <a:path w="720725" h="70484">
                <a:moveTo>
                  <a:pt x="702162" y="45275"/>
                </a:moveTo>
                <a:lnTo>
                  <a:pt x="688314" y="45275"/>
                </a:lnTo>
                <a:lnTo>
                  <a:pt x="691045" y="45885"/>
                </a:lnTo>
                <a:lnTo>
                  <a:pt x="693953" y="48348"/>
                </a:lnTo>
                <a:lnTo>
                  <a:pt x="694690" y="50584"/>
                </a:lnTo>
                <a:lnTo>
                  <a:pt x="694690" y="57353"/>
                </a:lnTo>
                <a:lnTo>
                  <a:pt x="693940" y="59689"/>
                </a:lnTo>
                <a:lnTo>
                  <a:pt x="690956" y="62014"/>
                </a:lnTo>
                <a:lnTo>
                  <a:pt x="688251" y="62598"/>
                </a:lnTo>
                <a:lnTo>
                  <a:pt x="702343" y="62598"/>
                </a:lnTo>
                <a:lnTo>
                  <a:pt x="703249" y="59905"/>
                </a:lnTo>
                <a:lnTo>
                  <a:pt x="703223" y="48348"/>
                </a:lnTo>
                <a:lnTo>
                  <a:pt x="702162" y="45275"/>
                </a:lnTo>
                <a:close/>
              </a:path>
              <a:path w="720725" h="70484">
                <a:moveTo>
                  <a:pt x="720661" y="20205"/>
                </a:moveTo>
                <a:lnTo>
                  <a:pt x="712101" y="20205"/>
                </a:lnTo>
                <a:lnTo>
                  <a:pt x="712101" y="68656"/>
                </a:lnTo>
                <a:lnTo>
                  <a:pt x="720661" y="68656"/>
                </a:lnTo>
                <a:lnTo>
                  <a:pt x="720661" y="20205"/>
                </a:lnTo>
                <a:close/>
              </a:path>
              <a:path w="720725" h="70484">
                <a:moveTo>
                  <a:pt x="642747" y="19011"/>
                </a:moveTo>
                <a:lnTo>
                  <a:pt x="628015" y="19011"/>
                </a:lnTo>
                <a:lnTo>
                  <a:pt x="622096" y="20916"/>
                </a:lnTo>
                <a:lnTo>
                  <a:pt x="615124" y="28549"/>
                </a:lnTo>
                <a:lnTo>
                  <a:pt x="613384" y="35090"/>
                </a:lnTo>
                <a:lnTo>
                  <a:pt x="613384" y="53733"/>
                </a:lnTo>
                <a:lnTo>
                  <a:pt x="615111" y="60324"/>
                </a:lnTo>
                <a:lnTo>
                  <a:pt x="622007" y="67944"/>
                </a:lnTo>
                <a:lnTo>
                  <a:pt x="627951" y="69862"/>
                </a:lnTo>
                <a:lnTo>
                  <a:pt x="642683" y="69862"/>
                </a:lnTo>
                <a:lnTo>
                  <a:pt x="648182" y="69024"/>
                </a:lnTo>
                <a:lnTo>
                  <a:pt x="652894" y="67373"/>
                </a:lnTo>
                <a:lnTo>
                  <a:pt x="652235" y="62699"/>
                </a:lnTo>
                <a:lnTo>
                  <a:pt x="631926" y="62699"/>
                </a:lnTo>
                <a:lnTo>
                  <a:pt x="627888" y="61404"/>
                </a:lnTo>
                <a:lnTo>
                  <a:pt x="623379" y="56222"/>
                </a:lnTo>
                <a:lnTo>
                  <a:pt x="622249" y="51409"/>
                </a:lnTo>
                <a:lnTo>
                  <a:pt x="622249" y="37414"/>
                </a:lnTo>
                <a:lnTo>
                  <a:pt x="623392" y="32638"/>
                </a:lnTo>
                <a:lnTo>
                  <a:pt x="627964" y="27470"/>
                </a:lnTo>
                <a:lnTo>
                  <a:pt x="631990" y="26174"/>
                </a:lnTo>
                <a:lnTo>
                  <a:pt x="651019" y="26174"/>
                </a:lnTo>
                <a:lnTo>
                  <a:pt x="651992" y="21297"/>
                </a:lnTo>
                <a:lnTo>
                  <a:pt x="647954" y="19773"/>
                </a:lnTo>
                <a:lnTo>
                  <a:pt x="642747" y="19011"/>
                </a:lnTo>
                <a:close/>
              </a:path>
              <a:path w="720725" h="70484">
                <a:moveTo>
                  <a:pt x="652094" y="61696"/>
                </a:moveTo>
                <a:lnTo>
                  <a:pt x="647915" y="62356"/>
                </a:lnTo>
                <a:lnTo>
                  <a:pt x="643140" y="62699"/>
                </a:lnTo>
                <a:lnTo>
                  <a:pt x="652235" y="62699"/>
                </a:lnTo>
                <a:lnTo>
                  <a:pt x="652094" y="61696"/>
                </a:lnTo>
                <a:close/>
              </a:path>
              <a:path w="720725" h="70484">
                <a:moveTo>
                  <a:pt x="651019" y="26174"/>
                </a:moveTo>
                <a:lnTo>
                  <a:pt x="642150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9" y="26174"/>
                </a:lnTo>
                <a:close/>
              </a:path>
              <a:path w="720725" h="70484">
                <a:moveTo>
                  <a:pt x="599338" y="26174"/>
                </a:moveTo>
                <a:lnTo>
                  <a:pt x="585660" y="26174"/>
                </a:lnTo>
                <a:lnTo>
                  <a:pt x="588213" y="26796"/>
                </a:lnTo>
                <a:lnTo>
                  <a:pt x="590994" y="29324"/>
                </a:lnTo>
                <a:lnTo>
                  <a:pt x="591731" y="31483"/>
                </a:lnTo>
                <a:lnTo>
                  <a:pt x="591794" y="38811"/>
                </a:lnTo>
                <a:lnTo>
                  <a:pt x="567347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47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402" y="68681"/>
                </a:lnTo>
                <a:lnTo>
                  <a:pt x="587362" y="65163"/>
                </a:lnTo>
                <a:lnTo>
                  <a:pt x="590270" y="63093"/>
                </a:lnTo>
                <a:lnTo>
                  <a:pt x="590987" y="62356"/>
                </a:lnTo>
                <a:lnTo>
                  <a:pt x="576859" y="62356"/>
                </a:lnTo>
                <a:lnTo>
                  <a:pt x="574281" y="62293"/>
                </a:lnTo>
                <a:lnTo>
                  <a:pt x="571690" y="62293"/>
                </a:lnTo>
                <a:lnTo>
                  <a:pt x="569785" y="61709"/>
                </a:lnTo>
                <a:lnTo>
                  <a:pt x="567321" y="59385"/>
                </a:lnTo>
                <a:lnTo>
                  <a:pt x="566724" y="57543"/>
                </a:lnTo>
                <a:lnTo>
                  <a:pt x="566724" y="47701"/>
                </a:lnTo>
                <a:lnTo>
                  <a:pt x="568845" y="45478"/>
                </a:lnTo>
                <a:lnTo>
                  <a:pt x="573087" y="45275"/>
                </a:lnTo>
                <a:lnTo>
                  <a:pt x="600252" y="45275"/>
                </a:lnTo>
                <a:lnTo>
                  <a:pt x="600252" y="28892"/>
                </a:lnTo>
                <a:lnTo>
                  <a:pt x="599338" y="26174"/>
                </a:lnTo>
                <a:close/>
              </a:path>
              <a:path w="720725" h="70484">
                <a:moveTo>
                  <a:pt x="600252" y="60705"/>
                </a:moveTo>
                <a:lnTo>
                  <a:pt x="592594" y="60705"/>
                </a:lnTo>
                <a:lnTo>
                  <a:pt x="593585" y="68656"/>
                </a:lnTo>
                <a:lnTo>
                  <a:pt x="600252" y="68656"/>
                </a:lnTo>
                <a:lnTo>
                  <a:pt x="600252" y="60705"/>
                </a:lnTo>
                <a:close/>
              </a:path>
              <a:path w="720725" h="70484">
                <a:moveTo>
                  <a:pt x="600252" y="45275"/>
                </a:moveTo>
                <a:lnTo>
                  <a:pt x="591794" y="45275"/>
                </a:lnTo>
                <a:lnTo>
                  <a:pt x="591794" y="55029"/>
                </a:lnTo>
                <a:lnTo>
                  <a:pt x="589076" y="57416"/>
                </a:lnTo>
                <a:lnTo>
                  <a:pt x="586117" y="59245"/>
                </a:lnTo>
                <a:lnTo>
                  <a:pt x="579755" y="61760"/>
                </a:lnTo>
                <a:lnTo>
                  <a:pt x="576859" y="62356"/>
                </a:lnTo>
                <a:lnTo>
                  <a:pt x="590987" y="62356"/>
                </a:lnTo>
                <a:lnTo>
                  <a:pt x="592594" y="60705"/>
                </a:lnTo>
                <a:lnTo>
                  <a:pt x="600252" y="60705"/>
                </a:lnTo>
                <a:lnTo>
                  <a:pt x="600252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100" y="19011"/>
                </a:lnTo>
                <a:lnTo>
                  <a:pt x="569264" y="19735"/>
                </a:lnTo>
                <a:lnTo>
                  <a:pt x="560247" y="21196"/>
                </a:lnTo>
                <a:lnTo>
                  <a:pt x="561047" y="27470"/>
                </a:lnTo>
                <a:lnTo>
                  <a:pt x="570268" y="26606"/>
                </a:lnTo>
                <a:lnTo>
                  <a:pt x="577227" y="26174"/>
                </a:lnTo>
                <a:lnTo>
                  <a:pt x="599338" y="26174"/>
                </a:lnTo>
                <a:lnTo>
                  <a:pt x="598906" y="24891"/>
                </a:lnTo>
                <a:lnTo>
                  <a:pt x="593534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44" y="20205"/>
                </a:lnTo>
                <a:lnTo>
                  <a:pt x="517359" y="21132"/>
                </a:lnTo>
                <a:lnTo>
                  <a:pt x="513372" y="24841"/>
                </a:lnTo>
                <a:lnTo>
                  <a:pt x="512152" y="27698"/>
                </a:lnTo>
                <a:lnTo>
                  <a:pt x="511683" y="31546"/>
                </a:lnTo>
                <a:lnTo>
                  <a:pt x="510425" y="43751"/>
                </a:lnTo>
                <a:lnTo>
                  <a:pt x="509003" y="51879"/>
                </a:lnTo>
                <a:lnTo>
                  <a:pt x="498856" y="62699"/>
                </a:lnTo>
                <a:lnTo>
                  <a:pt x="499745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98" y="29108"/>
                </a:lnTo>
                <a:lnTo>
                  <a:pt x="522376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9" y="26174"/>
                </a:moveTo>
                <a:lnTo>
                  <a:pt x="474802" y="26174"/>
                </a:lnTo>
                <a:lnTo>
                  <a:pt x="477354" y="26796"/>
                </a:lnTo>
                <a:lnTo>
                  <a:pt x="480148" y="29324"/>
                </a:lnTo>
                <a:lnTo>
                  <a:pt x="480872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99" y="39852"/>
                </a:lnTo>
                <a:lnTo>
                  <a:pt x="448487" y="44030"/>
                </a:lnTo>
                <a:lnTo>
                  <a:pt x="447306" y="46964"/>
                </a:lnTo>
                <a:lnTo>
                  <a:pt x="447306" y="60337"/>
                </a:lnTo>
                <a:lnTo>
                  <a:pt x="448589" y="63665"/>
                </a:lnTo>
                <a:lnTo>
                  <a:pt x="453771" y="68376"/>
                </a:lnTo>
                <a:lnTo>
                  <a:pt x="457288" y="69557"/>
                </a:lnTo>
                <a:lnTo>
                  <a:pt x="465772" y="69557"/>
                </a:lnTo>
                <a:lnTo>
                  <a:pt x="469544" y="68681"/>
                </a:lnTo>
                <a:lnTo>
                  <a:pt x="476516" y="65163"/>
                </a:lnTo>
                <a:lnTo>
                  <a:pt x="479412" y="63093"/>
                </a:lnTo>
                <a:lnTo>
                  <a:pt x="480129" y="62356"/>
                </a:lnTo>
                <a:lnTo>
                  <a:pt x="466013" y="62356"/>
                </a:lnTo>
                <a:lnTo>
                  <a:pt x="463423" y="62293"/>
                </a:lnTo>
                <a:lnTo>
                  <a:pt x="460844" y="62293"/>
                </a:lnTo>
                <a:lnTo>
                  <a:pt x="458927" y="61709"/>
                </a:lnTo>
                <a:lnTo>
                  <a:pt x="456476" y="59385"/>
                </a:lnTo>
                <a:lnTo>
                  <a:pt x="455866" y="57543"/>
                </a:lnTo>
                <a:lnTo>
                  <a:pt x="455866" y="47701"/>
                </a:lnTo>
                <a:lnTo>
                  <a:pt x="457987" y="45478"/>
                </a:lnTo>
                <a:lnTo>
                  <a:pt x="462229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9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36" y="60705"/>
                </a:lnTo>
                <a:lnTo>
                  <a:pt x="482727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18" y="57416"/>
                </a:lnTo>
                <a:lnTo>
                  <a:pt x="475259" y="59245"/>
                </a:lnTo>
                <a:lnTo>
                  <a:pt x="468896" y="61760"/>
                </a:lnTo>
                <a:lnTo>
                  <a:pt x="466013" y="62356"/>
                </a:lnTo>
                <a:lnTo>
                  <a:pt x="480129" y="62356"/>
                </a:lnTo>
                <a:lnTo>
                  <a:pt x="481736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510" y="19011"/>
                </a:moveTo>
                <a:lnTo>
                  <a:pt x="466242" y="19011"/>
                </a:lnTo>
                <a:lnTo>
                  <a:pt x="458419" y="19735"/>
                </a:lnTo>
                <a:lnTo>
                  <a:pt x="449389" y="21196"/>
                </a:lnTo>
                <a:lnTo>
                  <a:pt x="450189" y="27470"/>
                </a:lnTo>
                <a:lnTo>
                  <a:pt x="459409" y="26606"/>
                </a:lnTo>
                <a:lnTo>
                  <a:pt x="466382" y="26174"/>
                </a:lnTo>
                <a:lnTo>
                  <a:pt x="488479" y="26174"/>
                </a:lnTo>
                <a:lnTo>
                  <a:pt x="488048" y="24891"/>
                </a:lnTo>
                <a:lnTo>
                  <a:pt x="482676" y="20180"/>
                </a:lnTo>
                <a:lnTo>
                  <a:pt x="478510" y="19011"/>
                </a:lnTo>
                <a:close/>
              </a:path>
              <a:path w="720725" h="70484">
                <a:moveTo>
                  <a:pt x="405015" y="20205"/>
                </a:moveTo>
                <a:lnTo>
                  <a:pt x="396557" y="20205"/>
                </a:lnTo>
                <a:lnTo>
                  <a:pt x="396557" y="68656"/>
                </a:lnTo>
                <a:lnTo>
                  <a:pt x="405015" y="68656"/>
                </a:lnTo>
                <a:lnTo>
                  <a:pt x="404890" y="49060"/>
                </a:lnTo>
                <a:lnTo>
                  <a:pt x="404609" y="46774"/>
                </a:lnTo>
                <a:lnTo>
                  <a:pt x="427304" y="46774"/>
                </a:lnTo>
                <a:lnTo>
                  <a:pt x="418744" y="43586"/>
                </a:lnTo>
                <a:lnTo>
                  <a:pt x="418744" y="43281"/>
                </a:lnTo>
                <a:lnTo>
                  <a:pt x="426639" y="40208"/>
                </a:lnTo>
                <a:lnTo>
                  <a:pt x="404520" y="40208"/>
                </a:lnTo>
                <a:lnTo>
                  <a:pt x="404795" y="38544"/>
                </a:lnTo>
                <a:lnTo>
                  <a:pt x="404916" y="37477"/>
                </a:lnTo>
                <a:lnTo>
                  <a:pt x="405015" y="20205"/>
                </a:lnTo>
                <a:close/>
              </a:path>
              <a:path w="720725" h="70484">
                <a:moveTo>
                  <a:pt x="427304" y="46774"/>
                </a:moveTo>
                <a:lnTo>
                  <a:pt x="413169" y="46774"/>
                </a:lnTo>
                <a:lnTo>
                  <a:pt x="414426" y="46951"/>
                </a:lnTo>
                <a:lnTo>
                  <a:pt x="416687" y="47675"/>
                </a:lnTo>
                <a:lnTo>
                  <a:pt x="429793" y="68656"/>
                </a:lnTo>
                <a:lnTo>
                  <a:pt x="438645" y="68656"/>
                </a:lnTo>
                <a:lnTo>
                  <a:pt x="428599" y="47993"/>
                </a:lnTo>
                <a:lnTo>
                  <a:pt x="427304" y="46774"/>
                </a:lnTo>
                <a:close/>
              </a:path>
              <a:path w="720725" h="70484">
                <a:moveTo>
                  <a:pt x="437261" y="20205"/>
                </a:moveTo>
                <a:lnTo>
                  <a:pt x="428498" y="20205"/>
                </a:lnTo>
                <a:lnTo>
                  <a:pt x="427101" y="24053"/>
                </a:lnTo>
                <a:lnTo>
                  <a:pt x="425983" y="26936"/>
                </a:lnTo>
                <a:lnTo>
                  <a:pt x="413600" y="40208"/>
                </a:lnTo>
                <a:lnTo>
                  <a:pt x="426639" y="40208"/>
                </a:lnTo>
                <a:lnTo>
                  <a:pt x="428371" y="38544"/>
                </a:lnTo>
                <a:lnTo>
                  <a:pt x="429425" y="37477"/>
                </a:lnTo>
                <a:lnTo>
                  <a:pt x="430022" y="36588"/>
                </a:lnTo>
                <a:lnTo>
                  <a:pt x="431342" y="34061"/>
                </a:lnTo>
                <a:lnTo>
                  <a:pt x="432676" y="31699"/>
                </a:lnTo>
                <a:lnTo>
                  <a:pt x="433222" y="30479"/>
                </a:lnTo>
                <a:lnTo>
                  <a:pt x="435876" y="23926"/>
                </a:lnTo>
                <a:lnTo>
                  <a:pt x="437261" y="20205"/>
                </a:lnTo>
                <a:close/>
              </a:path>
              <a:path w="720725" h="70484">
                <a:moveTo>
                  <a:pt x="310870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20" y="68656"/>
                </a:lnTo>
                <a:lnTo>
                  <a:pt x="308025" y="69062"/>
                </a:lnTo>
                <a:lnTo>
                  <a:pt x="314921" y="69265"/>
                </a:lnTo>
                <a:lnTo>
                  <a:pt x="330047" y="69265"/>
                </a:lnTo>
                <a:lnTo>
                  <a:pt x="334594" y="68186"/>
                </a:lnTo>
                <a:lnTo>
                  <a:pt x="339902" y="63868"/>
                </a:lnTo>
                <a:lnTo>
                  <a:pt x="340326" y="62598"/>
                </a:lnTo>
                <a:lnTo>
                  <a:pt x="322326" y="62598"/>
                </a:lnTo>
                <a:lnTo>
                  <a:pt x="310870" y="62496"/>
                </a:lnTo>
                <a:lnTo>
                  <a:pt x="310870" y="45275"/>
                </a:lnTo>
                <a:lnTo>
                  <a:pt x="340136" y="45275"/>
                </a:lnTo>
                <a:lnTo>
                  <a:pt x="339864" y="44488"/>
                </a:lnTo>
                <a:lnTo>
                  <a:pt x="334429" y="40106"/>
                </a:lnTo>
                <a:lnTo>
                  <a:pt x="329476" y="39001"/>
                </a:lnTo>
                <a:lnTo>
                  <a:pt x="310870" y="39001"/>
                </a:lnTo>
                <a:lnTo>
                  <a:pt x="310870" y="20205"/>
                </a:lnTo>
                <a:close/>
              </a:path>
              <a:path w="720725" h="70484">
                <a:moveTo>
                  <a:pt x="340136" y="45275"/>
                </a:moveTo>
                <a:lnTo>
                  <a:pt x="326301" y="45275"/>
                </a:lnTo>
                <a:lnTo>
                  <a:pt x="329018" y="45885"/>
                </a:lnTo>
                <a:lnTo>
                  <a:pt x="331939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14" y="59689"/>
                </a:lnTo>
                <a:lnTo>
                  <a:pt x="328942" y="62014"/>
                </a:lnTo>
                <a:lnTo>
                  <a:pt x="326237" y="62598"/>
                </a:lnTo>
                <a:lnTo>
                  <a:pt x="340326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3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63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63" y="27165"/>
                </a:lnTo>
                <a:lnTo>
                  <a:pt x="292163" y="20205"/>
                </a:lnTo>
                <a:close/>
              </a:path>
              <a:path w="720725" h="70484">
                <a:moveTo>
                  <a:pt x="237718" y="26174"/>
                </a:moveTo>
                <a:lnTo>
                  <a:pt x="224040" y="26174"/>
                </a:lnTo>
                <a:lnTo>
                  <a:pt x="226580" y="26796"/>
                </a:lnTo>
                <a:lnTo>
                  <a:pt x="229374" y="29324"/>
                </a:lnTo>
                <a:lnTo>
                  <a:pt x="230111" y="31483"/>
                </a:lnTo>
                <a:lnTo>
                  <a:pt x="230174" y="38811"/>
                </a:lnTo>
                <a:lnTo>
                  <a:pt x="205727" y="38811"/>
                </a:lnTo>
                <a:lnTo>
                  <a:pt x="202425" y="39852"/>
                </a:lnTo>
                <a:lnTo>
                  <a:pt x="197713" y="44030"/>
                </a:lnTo>
                <a:lnTo>
                  <a:pt x="196532" y="46964"/>
                </a:lnTo>
                <a:lnTo>
                  <a:pt x="196532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14" y="69557"/>
                </a:lnTo>
                <a:lnTo>
                  <a:pt x="215011" y="69557"/>
                </a:lnTo>
                <a:lnTo>
                  <a:pt x="218782" y="68681"/>
                </a:lnTo>
                <a:lnTo>
                  <a:pt x="225742" y="65163"/>
                </a:lnTo>
                <a:lnTo>
                  <a:pt x="228650" y="63093"/>
                </a:lnTo>
                <a:lnTo>
                  <a:pt x="229367" y="62356"/>
                </a:lnTo>
                <a:lnTo>
                  <a:pt x="215239" y="62356"/>
                </a:lnTo>
                <a:lnTo>
                  <a:pt x="212661" y="62293"/>
                </a:lnTo>
                <a:lnTo>
                  <a:pt x="210070" y="62293"/>
                </a:lnTo>
                <a:lnTo>
                  <a:pt x="208165" y="61709"/>
                </a:lnTo>
                <a:lnTo>
                  <a:pt x="205701" y="59385"/>
                </a:lnTo>
                <a:lnTo>
                  <a:pt x="205105" y="57543"/>
                </a:lnTo>
                <a:lnTo>
                  <a:pt x="205105" y="47701"/>
                </a:lnTo>
                <a:lnTo>
                  <a:pt x="207225" y="45478"/>
                </a:lnTo>
                <a:lnTo>
                  <a:pt x="211467" y="45275"/>
                </a:lnTo>
                <a:lnTo>
                  <a:pt x="238633" y="45275"/>
                </a:lnTo>
                <a:lnTo>
                  <a:pt x="238633" y="28892"/>
                </a:lnTo>
                <a:lnTo>
                  <a:pt x="237718" y="26174"/>
                </a:lnTo>
                <a:close/>
              </a:path>
              <a:path w="720725" h="70484">
                <a:moveTo>
                  <a:pt x="238633" y="60705"/>
                </a:moveTo>
                <a:lnTo>
                  <a:pt x="230974" y="60705"/>
                </a:lnTo>
                <a:lnTo>
                  <a:pt x="231965" y="68656"/>
                </a:lnTo>
                <a:lnTo>
                  <a:pt x="238633" y="68656"/>
                </a:lnTo>
                <a:lnTo>
                  <a:pt x="238633" y="60705"/>
                </a:lnTo>
                <a:close/>
              </a:path>
              <a:path w="720725" h="70484">
                <a:moveTo>
                  <a:pt x="238633" y="45275"/>
                </a:moveTo>
                <a:lnTo>
                  <a:pt x="230174" y="45275"/>
                </a:lnTo>
                <a:lnTo>
                  <a:pt x="230174" y="55029"/>
                </a:lnTo>
                <a:lnTo>
                  <a:pt x="227457" y="57416"/>
                </a:lnTo>
                <a:lnTo>
                  <a:pt x="224497" y="59245"/>
                </a:lnTo>
                <a:lnTo>
                  <a:pt x="218122" y="61760"/>
                </a:lnTo>
                <a:lnTo>
                  <a:pt x="215239" y="62356"/>
                </a:lnTo>
                <a:lnTo>
                  <a:pt x="229367" y="62356"/>
                </a:lnTo>
                <a:lnTo>
                  <a:pt x="230974" y="60705"/>
                </a:lnTo>
                <a:lnTo>
                  <a:pt x="238633" y="60705"/>
                </a:lnTo>
                <a:lnTo>
                  <a:pt x="238633" y="45275"/>
                </a:lnTo>
                <a:close/>
              </a:path>
              <a:path w="720725" h="70484">
                <a:moveTo>
                  <a:pt x="227749" y="19011"/>
                </a:moveTo>
                <a:lnTo>
                  <a:pt x="215480" y="19011"/>
                </a:lnTo>
                <a:lnTo>
                  <a:pt x="207645" y="19735"/>
                </a:lnTo>
                <a:lnTo>
                  <a:pt x="198628" y="21196"/>
                </a:lnTo>
                <a:lnTo>
                  <a:pt x="199428" y="27470"/>
                </a:lnTo>
                <a:lnTo>
                  <a:pt x="208648" y="26606"/>
                </a:lnTo>
                <a:lnTo>
                  <a:pt x="215607" y="26174"/>
                </a:lnTo>
                <a:lnTo>
                  <a:pt x="237718" y="26174"/>
                </a:lnTo>
                <a:lnTo>
                  <a:pt x="237286" y="24891"/>
                </a:lnTo>
                <a:lnTo>
                  <a:pt x="231914" y="20180"/>
                </a:lnTo>
                <a:lnTo>
                  <a:pt x="227749" y="19011"/>
                </a:lnTo>
                <a:close/>
              </a:path>
              <a:path w="720725" h="70484">
                <a:moveTo>
                  <a:pt x="139382" y="20205"/>
                </a:moveTo>
                <a:lnTo>
                  <a:pt x="126784" y="20205"/>
                </a:lnTo>
                <a:lnTo>
                  <a:pt x="125691" y="21259"/>
                </a:lnTo>
                <a:lnTo>
                  <a:pt x="125691" y="23380"/>
                </a:lnTo>
                <a:lnTo>
                  <a:pt x="123698" y="68656"/>
                </a:lnTo>
                <a:lnTo>
                  <a:pt x="131457" y="68656"/>
                </a:lnTo>
                <a:lnTo>
                  <a:pt x="133248" y="26669"/>
                </a:lnTo>
                <a:lnTo>
                  <a:pt x="142336" y="26669"/>
                </a:lnTo>
                <a:lnTo>
                  <a:pt x="141008" y="22986"/>
                </a:lnTo>
                <a:lnTo>
                  <a:pt x="140487" y="21132"/>
                </a:lnTo>
                <a:lnTo>
                  <a:pt x="139382" y="20205"/>
                </a:lnTo>
                <a:close/>
              </a:path>
              <a:path w="720725" h="70484">
                <a:moveTo>
                  <a:pt x="182460" y="26669"/>
                </a:moveTo>
                <a:lnTo>
                  <a:pt x="174650" y="26669"/>
                </a:lnTo>
                <a:lnTo>
                  <a:pt x="176542" y="68656"/>
                </a:lnTo>
                <a:lnTo>
                  <a:pt x="184404" y="68656"/>
                </a:lnTo>
                <a:lnTo>
                  <a:pt x="182460" y="26669"/>
                </a:lnTo>
                <a:close/>
              </a:path>
              <a:path w="720725" h="70484">
                <a:moveTo>
                  <a:pt x="142336" y="26669"/>
                </a:moveTo>
                <a:lnTo>
                  <a:pt x="134937" y="26669"/>
                </a:lnTo>
                <a:lnTo>
                  <a:pt x="147281" y="60604"/>
                </a:lnTo>
                <a:lnTo>
                  <a:pt x="147878" y="62458"/>
                </a:lnTo>
                <a:lnTo>
                  <a:pt x="149009" y="63385"/>
                </a:lnTo>
                <a:lnTo>
                  <a:pt x="158889" y="63385"/>
                </a:lnTo>
                <a:lnTo>
                  <a:pt x="160020" y="62458"/>
                </a:lnTo>
                <a:lnTo>
                  <a:pt x="160616" y="60604"/>
                </a:lnTo>
                <a:lnTo>
                  <a:pt x="161632" y="57810"/>
                </a:lnTo>
                <a:lnTo>
                  <a:pt x="153149" y="57810"/>
                </a:lnTo>
                <a:lnTo>
                  <a:pt x="152425" y="55029"/>
                </a:lnTo>
                <a:lnTo>
                  <a:pt x="151726" y="52704"/>
                </a:lnTo>
                <a:lnTo>
                  <a:pt x="142336" y="26669"/>
                </a:lnTo>
                <a:close/>
              </a:path>
              <a:path w="720725" h="70484">
                <a:moveTo>
                  <a:pt x="181241" y="20205"/>
                </a:moveTo>
                <a:lnTo>
                  <a:pt x="168605" y="20205"/>
                </a:lnTo>
                <a:lnTo>
                  <a:pt x="167487" y="21132"/>
                </a:lnTo>
                <a:lnTo>
                  <a:pt x="166878" y="22986"/>
                </a:lnTo>
                <a:lnTo>
                  <a:pt x="156832" y="50850"/>
                </a:lnTo>
                <a:lnTo>
                  <a:pt x="156375" y="52247"/>
                </a:lnTo>
                <a:lnTo>
                  <a:pt x="155663" y="54559"/>
                </a:lnTo>
                <a:lnTo>
                  <a:pt x="154749" y="57810"/>
                </a:lnTo>
                <a:lnTo>
                  <a:pt x="161632" y="57810"/>
                </a:lnTo>
                <a:lnTo>
                  <a:pt x="172948" y="26669"/>
                </a:lnTo>
                <a:lnTo>
                  <a:pt x="182460" y="26669"/>
                </a:lnTo>
                <a:lnTo>
                  <a:pt x="182308" y="23380"/>
                </a:lnTo>
                <a:lnTo>
                  <a:pt x="182308" y="21259"/>
                </a:lnTo>
                <a:lnTo>
                  <a:pt x="181241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89" y="20205"/>
                </a:lnTo>
                <a:lnTo>
                  <a:pt x="81305" y="21132"/>
                </a:lnTo>
                <a:lnTo>
                  <a:pt x="77317" y="24841"/>
                </a:lnTo>
                <a:lnTo>
                  <a:pt x="76098" y="27698"/>
                </a:lnTo>
                <a:lnTo>
                  <a:pt x="75628" y="31546"/>
                </a:lnTo>
                <a:lnTo>
                  <a:pt x="74371" y="43751"/>
                </a:lnTo>
                <a:lnTo>
                  <a:pt x="72948" y="51879"/>
                </a:lnTo>
                <a:lnTo>
                  <a:pt x="62788" y="62699"/>
                </a:lnTo>
                <a:lnTo>
                  <a:pt x="63690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21" y="27317"/>
                </a:lnTo>
                <a:lnTo>
                  <a:pt x="87807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96" y="0"/>
                </a:lnTo>
                <a:lnTo>
                  <a:pt x="22491" y="800"/>
                </a:lnTo>
                <a:lnTo>
                  <a:pt x="22098" y="2387"/>
                </a:lnTo>
                <a:lnTo>
                  <a:pt x="0" y="68656"/>
                </a:lnTo>
                <a:lnTo>
                  <a:pt x="9055" y="68656"/>
                </a:lnTo>
                <a:lnTo>
                  <a:pt x="15824" y="47167"/>
                </a:lnTo>
                <a:lnTo>
                  <a:pt x="52744" y="47167"/>
                </a:lnTo>
                <a:lnTo>
                  <a:pt x="50226" y="39611"/>
                </a:lnTo>
                <a:lnTo>
                  <a:pt x="18211" y="39611"/>
                </a:lnTo>
                <a:lnTo>
                  <a:pt x="26873" y="12344"/>
                </a:lnTo>
                <a:lnTo>
                  <a:pt x="28562" y="6769"/>
                </a:lnTo>
                <a:lnTo>
                  <a:pt x="39280" y="6769"/>
                </a:lnTo>
                <a:lnTo>
                  <a:pt x="37820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44" y="47167"/>
                </a:moveTo>
                <a:lnTo>
                  <a:pt x="44081" y="47167"/>
                </a:lnTo>
                <a:lnTo>
                  <a:pt x="50850" y="68656"/>
                </a:lnTo>
                <a:lnTo>
                  <a:pt x="59905" y="68656"/>
                </a:lnTo>
                <a:lnTo>
                  <a:pt x="52744" y="47167"/>
                </a:lnTo>
                <a:close/>
              </a:path>
              <a:path w="720725" h="70484">
                <a:moveTo>
                  <a:pt x="39280" y="6769"/>
                </a:moveTo>
                <a:lnTo>
                  <a:pt x="31343" y="6769"/>
                </a:lnTo>
                <a:lnTo>
                  <a:pt x="31877" y="8762"/>
                </a:lnTo>
                <a:lnTo>
                  <a:pt x="32448" y="10617"/>
                </a:lnTo>
                <a:lnTo>
                  <a:pt x="33045" y="12344"/>
                </a:lnTo>
                <a:lnTo>
                  <a:pt x="41694" y="39611"/>
                </a:lnTo>
                <a:lnTo>
                  <a:pt x="50226" y="39611"/>
                </a:lnTo>
                <a:lnTo>
                  <a:pt x="39280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6" name="object 25">
            <a:extLst>
              <a:ext uri="{FF2B5EF4-FFF2-40B4-BE49-F238E27FC236}">
                <a16:creationId xmlns:a16="http://schemas.microsoft.com/office/drawing/2014/main" id="{31952B9D-93F0-4D51-8518-0096011DE2CF}"/>
              </a:ext>
            </a:extLst>
          </p:cNvPr>
          <p:cNvSpPr/>
          <p:nvPr/>
        </p:nvSpPr>
        <p:spPr>
          <a:xfrm>
            <a:off x="775530" y="5906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01" y="20802"/>
                </a:lnTo>
                <a:lnTo>
                  <a:pt x="507301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2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5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62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5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49" y="51193"/>
                </a:lnTo>
                <a:lnTo>
                  <a:pt x="537349" y="57950"/>
                </a:lnTo>
                <a:lnTo>
                  <a:pt x="536600" y="60286"/>
                </a:lnTo>
                <a:lnTo>
                  <a:pt x="533615" y="62611"/>
                </a:lnTo>
                <a:lnTo>
                  <a:pt x="530910" y="63195"/>
                </a:lnTo>
                <a:lnTo>
                  <a:pt x="545012" y="63195"/>
                </a:lnTo>
                <a:lnTo>
                  <a:pt x="545909" y="60502"/>
                </a:lnTo>
                <a:lnTo>
                  <a:pt x="545878" y="48945"/>
                </a:lnTo>
                <a:lnTo>
                  <a:pt x="544825" y="45885"/>
                </a:lnTo>
                <a:close/>
              </a:path>
              <a:path w="563880" h="89534">
                <a:moveTo>
                  <a:pt x="563321" y="20802"/>
                </a:moveTo>
                <a:lnTo>
                  <a:pt x="554761" y="20802"/>
                </a:lnTo>
                <a:lnTo>
                  <a:pt x="554761" y="69265"/>
                </a:lnTo>
                <a:lnTo>
                  <a:pt x="563321" y="69265"/>
                </a:lnTo>
                <a:lnTo>
                  <a:pt x="563321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74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42" y="69634"/>
                </a:lnTo>
                <a:lnTo>
                  <a:pt x="495553" y="67970"/>
                </a:lnTo>
                <a:lnTo>
                  <a:pt x="494904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51" y="33235"/>
                </a:lnTo>
                <a:lnTo>
                  <a:pt x="470623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4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1995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289" y="68973"/>
                </a:lnTo>
                <a:lnTo>
                  <a:pt x="410806" y="70154"/>
                </a:lnTo>
                <a:lnTo>
                  <a:pt x="419290" y="70154"/>
                </a:lnTo>
                <a:lnTo>
                  <a:pt x="423087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45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47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1995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45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77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28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07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1995" y="26771"/>
                </a:lnTo>
                <a:lnTo>
                  <a:pt x="441566" y="25501"/>
                </a:lnTo>
                <a:lnTo>
                  <a:pt x="436194" y="20777"/>
                </a:lnTo>
                <a:lnTo>
                  <a:pt x="432028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63" y="20802"/>
                </a:lnTo>
                <a:lnTo>
                  <a:pt x="329971" y="21856"/>
                </a:lnTo>
                <a:lnTo>
                  <a:pt x="329971" y="23977"/>
                </a:lnTo>
                <a:lnTo>
                  <a:pt x="327977" y="69265"/>
                </a:lnTo>
                <a:lnTo>
                  <a:pt x="335737" y="69265"/>
                </a:lnTo>
                <a:lnTo>
                  <a:pt x="337527" y="27266"/>
                </a:lnTo>
                <a:lnTo>
                  <a:pt x="346627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40" y="27266"/>
                </a:moveTo>
                <a:lnTo>
                  <a:pt x="378929" y="27266"/>
                </a:lnTo>
                <a:lnTo>
                  <a:pt x="380822" y="69265"/>
                </a:lnTo>
                <a:lnTo>
                  <a:pt x="388683" y="69265"/>
                </a:lnTo>
                <a:lnTo>
                  <a:pt x="386740" y="27266"/>
                </a:lnTo>
                <a:close/>
              </a:path>
              <a:path w="563880" h="89534">
                <a:moveTo>
                  <a:pt x="346627" y="27266"/>
                </a:moveTo>
                <a:lnTo>
                  <a:pt x="339229" y="27266"/>
                </a:lnTo>
                <a:lnTo>
                  <a:pt x="351561" y="61201"/>
                </a:lnTo>
                <a:lnTo>
                  <a:pt x="352158" y="63068"/>
                </a:lnTo>
                <a:lnTo>
                  <a:pt x="353288" y="63982"/>
                </a:lnTo>
                <a:lnTo>
                  <a:pt x="363169" y="63982"/>
                </a:lnTo>
                <a:lnTo>
                  <a:pt x="364299" y="63068"/>
                </a:lnTo>
                <a:lnTo>
                  <a:pt x="364896" y="61201"/>
                </a:lnTo>
                <a:lnTo>
                  <a:pt x="365908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46627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11" y="51447"/>
                </a:lnTo>
                <a:lnTo>
                  <a:pt x="360654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08" y="58420"/>
                </a:lnTo>
                <a:lnTo>
                  <a:pt x="377240" y="27266"/>
                </a:lnTo>
                <a:lnTo>
                  <a:pt x="386740" y="27266"/>
                </a:lnTo>
                <a:lnTo>
                  <a:pt x="386588" y="23977"/>
                </a:lnTo>
                <a:lnTo>
                  <a:pt x="386461" y="21729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22" y="65481"/>
                </a:lnTo>
                <a:lnTo>
                  <a:pt x="310492" y="65481"/>
                </a:lnTo>
                <a:lnTo>
                  <a:pt x="312319" y="63093"/>
                </a:lnTo>
                <a:lnTo>
                  <a:pt x="291363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54" y="29464"/>
                </a:lnTo>
                <a:lnTo>
                  <a:pt x="288060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492" y="65481"/>
                </a:moveTo>
                <a:lnTo>
                  <a:pt x="279222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40" y="68554"/>
                </a:lnTo>
                <a:lnTo>
                  <a:pt x="310492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85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19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58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0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58" y="19608"/>
                </a:lnTo>
                <a:close/>
              </a:path>
              <a:path w="563880" h="89534">
                <a:moveTo>
                  <a:pt x="254619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78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30" y="39408"/>
                </a:lnTo>
                <a:lnTo>
                  <a:pt x="219329" y="40449"/>
                </a:lnTo>
                <a:lnTo>
                  <a:pt x="214617" y="44627"/>
                </a:lnTo>
                <a:lnTo>
                  <a:pt x="213436" y="47574"/>
                </a:lnTo>
                <a:lnTo>
                  <a:pt x="213436" y="60934"/>
                </a:lnTo>
                <a:lnTo>
                  <a:pt x="214731" y="64274"/>
                </a:lnTo>
                <a:lnTo>
                  <a:pt x="219913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46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71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19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52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31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11" y="26771"/>
                </a:lnTo>
                <a:lnTo>
                  <a:pt x="254619" y="26771"/>
                </a:lnTo>
                <a:lnTo>
                  <a:pt x="254190" y="25501"/>
                </a:lnTo>
                <a:lnTo>
                  <a:pt x="248818" y="20777"/>
                </a:lnTo>
                <a:lnTo>
                  <a:pt x="244652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51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1" y="40805"/>
                </a:lnTo>
                <a:lnTo>
                  <a:pt x="170649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29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390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43" y="40805"/>
                </a:lnTo>
                <a:lnTo>
                  <a:pt x="192781" y="40805"/>
                </a:lnTo>
                <a:lnTo>
                  <a:pt x="195567" y="38087"/>
                </a:lnTo>
                <a:lnTo>
                  <a:pt x="196164" y="37185"/>
                </a:lnTo>
                <a:lnTo>
                  <a:pt x="198018" y="33693"/>
                </a:lnTo>
                <a:lnTo>
                  <a:pt x="198818" y="32296"/>
                </a:lnTo>
                <a:lnTo>
                  <a:pt x="199364" y="31076"/>
                </a:lnTo>
                <a:lnTo>
                  <a:pt x="202018" y="24536"/>
                </a:lnTo>
                <a:lnTo>
                  <a:pt x="202603" y="22987"/>
                </a:lnTo>
                <a:lnTo>
                  <a:pt x="203390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40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78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78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58" y="27368"/>
                </a:lnTo>
                <a:lnTo>
                  <a:pt x="149078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52" y="29921"/>
                </a:lnTo>
                <a:lnTo>
                  <a:pt x="89789" y="32080"/>
                </a:lnTo>
                <a:lnTo>
                  <a:pt x="89852" y="39408"/>
                </a:lnTo>
                <a:lnTo>
                  <a:pt x="65404" y="39408"/>
                </a:lnTo>
                <a:lnTo>
                  <a:pt x="62103" y="40449"/>
                </a:lnTo>
                <a:lnTo>
                  <a:pt x="57391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20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39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34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05" y="28067"/>
                </a:lnTo>
                <a:lnTo>
                  <a:pt x="68325" y="27203"/>
                </a:lnTo>
                <a:lnTo>
                  <a:pt x="75285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190" y="69265"/>
                </a:lnTo>
                <a:lnTo>
                  <a:pt x="6756" y="69862"/>
                </a:lnTo>
                <a:lnTo>
                  <a:pt x="13957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64" y="62560"/>
                </a:lnTo>
                <a:lnTo>
                  <a:pt x="8750" y="62496"/>
                </a:lnTo>
                <a:lnTo>
                  <a:pt x="8750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50" y="30149"/>
                </a:lnTo>
                <a:lnTo>
                  <a:pt x="8750" y="7861"/>
                </a:lnTo>
                <a:lnTo>
                  <a:pt x="41389" y="7861"/>
                </a:lnTo>
                <a:lnTo>
                  <a:pt x="42189" y="596"/>
                </a:lnTo>
                <a:lnTo>
                  <a:pt x="35217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48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48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7" name="object 26">
            <a:extLst>
              <a:ext uri="{FF2B5EF4-FFF2-40B4-BE49-F238E27FC236}">
                <a16:creationId xmlns:a16="http://schemas.microsoft.com/office/drawing/2014/main" id="{73DD342F-4951-4621-96EA-58EA9386B83B}"/>
              </a:ext>
            </a:extLst>
          </p:cNvPr>
          <p:cNvSpPr/>
          <p:nvPr/>
        </p:nvSpPr>
        <p:spPr>
          <a:xfrm>
            <a:off x="774201" y="425570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40" y="103365"/>
                </a:lnTo>
                <a:lnTo>
                  <a:pt x="984491" y="105181"/>
                </a:lnTo>
                <a:lnTo>
                  <a:pt x="992504" y="105181"/>
                </a:lnTo>
                <a:lnTo>
                  <a:pt x="990206" y="110883"/>
                </a:lnTo>
                <a:lnTo>
                  <a:pt x="987094" y="114896"/>
                </a:lnTo>
                <a:lnTo>
                  <a:pt x="983195" y="117195"/>
                </a:lnTo>
                <a:lnTo>
                  <a:pt x="979385" y="119494"/>
                </a:lnTo>
                <a:lnTo>
                  <a:pt x="972921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34" y="127550"/>
                </a:lnTo>
                <a:lnTo>
                  <a:pt x="1004639" y="121813"/>
                </a:lnTo>
                <a:lnTo>
                  <a:pt x="1005480" y="120497"/>
                </a:lnTo>
                <a:lnTo>
                  <a:pt x="972921" y="120497"/>
                </a:lnTo>
                <a:lnTo>
                  <a:pt x="963815" y="120205"/>
                </a:lnTo>
                <a:lnTo>
                  <a:pt x="1005666" y="120205"/>
                </a:lnTo>
                <a:lnTo>
                  <a:pt x="1009178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08" y="90144"/>
                </a:lnTo>
                <a:lnTo>
                  <a:pt x="996315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22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48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699" y="133718"/>
                </a:lnTo>
                <a:lnTo>
                  <a:pt x="897680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699" y="87591"/>
                </a:lnTo>
                <a:lnTo>
                  <a:pt x="897699" y="53644"/>
                </a:lnTo>
                <a:lnTo>
                  <a:pt x="904913" y="48933"/>
                </a:lnTo>
                <a:lnTo>
                  <a:pt x="911021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48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2" y="103068"/>
                </a:lnTo>
                <a:lnTo>
                  <a:pt x="908330" y="105322"/>
                </a:lnTo>
                <a:lnTo>
                  <a:pt x="914858" y="106674"/>
                </a:lnTo>
                <a:lnTo>
                  <a:pt x="922045" y="107124"/>
                </a:lnTo>
                <a:lnTo>
                  <a:pt x="931760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599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80" y="105181"/>
                </a:lnTo>
                <a:lnTo>
                  <a:pt x="766208" y="105572"/>
                </a:lnTo>
                <a:lnTo>
                  <a:pt x="774509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51" y="106070"/>
                </a:lnTo>
                <a:lnTo>
                  <a:pt x="813473" y="104305"/>
                </a:lnTo>
                <a:lnTo>
                  <a:pt x="822680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6" y="70777"/>
                </a:lnTo>
                <a:lnTo>
                  <a:pt x="822579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6" y="70777"/>
                </a:moveTo>
                <a:lnTo>
                  <a:pt x="795642" y="70777"/>
                </a:lnTo>
                <a:lnTo>
                  <a:pt x="798715" y="71424"/>
                </a:lnTo>
                <a:lnTo>
                  <a:pt x="801827" y="74028"/>
                </a:lnTo>
                <a:lnTo>
                  <a:pt x="802601" y="76631"/>
                </a:lnTo>
                <a:lnTo>
                  <a:pt x="802601" y="84645"/>
                </a:lnTo>
                <a:lnTo>
                  <a:pt x="801827" y="87325"/>
                </a:lnTo>
                <a:lnTo>
                  <a:pt x="798715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6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38" y="126352"/>
                </a:lnTo>
                <a:lnTo>
                  <a:pt x="673836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79" y="70734"/>
                </a:lnTo>
                <a:lnTo>
                  <a:pt x="670132" y="80381"/>
                </a:lnTo>
                <a:lnTo>
                  <a:pt x="667080" y="89255"/>
                </a:lnTo>
                <a:lnTo>
                  <a:pt x="686612" y="89255"/>
                </a:lnTo>
                <a:lnTo>
                  <a:pt x="696277" y="48488"/>
                </a:lnTo>
                <a:lnTo>
                  <a:pt x="698779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28" y="31102"/>
                </a:lnTo>
                <a:lnTo>
                  <a:pt x="573328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22" y="106984"/>
                </a:lnTo>
                <a:lnTo>
                  <a:pt x="515684" y="106166"/>
                </a:lnTo>
                <a:lnTo>
                  <a:pt x="522889" y="103711"/>
                </a:lnTo>
                <a:lnTo>
                  <a:pt x="529433" y="99623"/>
                </a:lnTo>
                <a:lnTo>
                  <a:pt x="535317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17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02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56" y="28994"/>
                </a:lnTo>
                <a:lnTo>
                  <a:pt x="516521" y="29220"/>
                </a:lnTo>
                <a:lnTo>
                  <a:pt x="506998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43" y="47637"/>
                </a:lnTo>
                <a:lnTo>
                  <a:pt x="498564" y="47104"/>
                </a:lnTo>
                <a:lnTo>
                  <a:pt x="506814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67" y="39141"/>
                </a:lnTo>
                <a:lnTo>
                  <a:pt x="543255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0" y="82222"/>
                </a:lnTo>
                <a:lnTo>
                  <a:pt x="428942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51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39" y="133718"/>
                </a:lnTo>
                <a:lnTo>
                  <a:pt x="331139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27" y="99910"/>
                </a:lnTo>
                <a:lnTo>
                  <a:pt x="376961" y="98640"/>
                </a:lnTo>
                <a:lnTo>
                  <a:pt x="379985" y="93590"/>
                </a:lnTo>
                <a:lnTo>
                  <a:pt x="380955" y="90601"/>
                </a:lnTo>
                <a:lnTo>
                  <a:pt x="344563" y="90601"/>
                </a:lnTo>
                <a:lnTo>
                  <a:pt x="338950" y="89598"/>
                </a:lnTo>
                <a:lnTo>
                  <a:pt x="331139" y="87591"/>
                </a:lnTo>
                <a:lnTo>
                  <a:pt x="331139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66" y="46583"/>
                </a:lnTo>
                <a:lnTo>
                  <a:pt x="378555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27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51" y="104305"/>
                </a:lnTo>
                <a:lnTo>
                  <a:pt x="375927" y="99910"/>
                </a:lnTo>
                <a:close/>
              </a:path>
              <a:path w="1039494" h="136525">
                <a:moveTo>
                  <a:pt x="380366" y="46583"/>
                </a:moveTo>
                <a:lnTo>
                  <a:pt x="353771" y="46583"/>
                </a:lnTo>
                <a:lnTo>
                  <a:pt x="356781" y="48107"/>
                </a:lnTo>
                <a:lnTo>
                  <a:pt x="360184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08" y="83591"/>
                </a:lnTo>
                <a:lnTo>
                  <a:pt x="356400" y="89204"/>
                </a:lnTo>
                <a:lnTo>
                  <a:pt x="352971" y="90601"/>
                </a:lnTo>
                <a:lnTo>
                  <a:pt x="380955" y="90601"/>
                </a:lnTo>
                <a:lnTo>
                  <a:pt x="382144" y="86936"/>
                </a:lnTo>
                <a:lnTo>
                  <a:pt x="383438" y="78679"/>
                </a:lnTo>
                <a:lnTo>
                  <a:pt x="383870" y="68821"/>
                </a:lnTo>
                <a:lnTo>
                  <a:pt x="382265" y="51469"/>
                </a:lnTo>
                <a:lnTo>
                  <a:pt x="380366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40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55" y="41922"/>
                </a:lnTo>
                <a:lnTo>
                  <a:pt x="377448" y="39074"/>
                </a:lnTo>
                <a:lnTo>
                  <a:pt x="369420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14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14" y="133718"/>
                </a:lnTo>
                <a:lnTo>
                  <a:pt x="253314" y="106680"/>
                </a:lnTo>
                <a:lnTo>
                  <a:pt x="263358" y="105467"/>
                </a:lnTo>
                <a:lnTo>
                  <a:pt x="288514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06" y="45377"/>
                </a:lnTo>
                <a:lnTo>
                  <a:pt x="288229" y="44980"/>
                </a:lnTo>
                <a:lnTo>
                  <a:pt x="253314" y="29298"/>
                </a:lnTo>
                <a:lnTo>
                  <a:pt x="253314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06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14" y="54686"/>
                </a:lnTo>
                <a:lnTo>
                  <a:pt x="272237" y="60299"/>
                </a:lnTo>
                <a:lnTo>
                  <a:pt x="272237" y="76034"/>
                </a:lnTo>
                <a:lnTo>
                  <a:pt x="270814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14" y="90601"/>
                </a:lnTo>
                <a:lnTo>
                  <a:pt x="291114" y="84855"/>
                </a:lnTo>
                <a:lnTo>
                  <a:pt x="292844" y="77182"/>
                </a:lnTo>
                <a:lnTo>
                  <a:pt x="293420" y="68211"/>
                </a:lnTo>
                <a:lnTo>
                  <a:pt x="292844" y="59172"/>
                </a:lnTo>
                <a:lnTo>
                  <a:pt x="291114" y="51428"/>
                </a:lnTo>
                <a:lnTo>
                  <a:pt x="288406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25" y="31102"/>
                </a:lnTo>
                <a:lnTo>
                  <a:pt x="105625" y="105181"/>
                </a:lnTo>
                <a:lnTo>
                  <a:pt x="124548" y="105181"/>
                </a:lnTo>
                <a:lnTo>
                  <a:pt x="141237" y="81584"/>
                </a:lnTo>
                <a:lnTo>
                  <a:pt x="124548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37" y="81584"/>
                </a:lnTo>
                <a:lnTo>
                  <a:pt x="152501" y="65659"/>
                </a:lnTo>
                <a:lnTo>
                  <a:pt x="155105" y="61950"/>
                </a:lnTo>
                <a:lnTo>
                  <a:pt x="156959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391" y="1498"/>
                </a:lnTo>
                <a:lnTo>
                  <a:pt x="57391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DB2121B9-F690-4869-A308-D845EAFF7512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9" name="object 28">
            <a:extLst>
              <a:ext uri="{FF2B5EF4-FFF2-40B4-BE49-F238E27FC236}">
                <a16:creationId xmlns:a16="http://schemas.microsoft.com/office/drawing/2014/main" id="{A0FA8EC2-4C7B-4D81-A0A1-EE39F3F6DE98}"/>
              </a:ext>
            </a:extLst>
          </p:cNvPr>
          <p:cNvSpPr txBox="1"/>
          <p:nvPr/>
        </p:nvSpPr>
        <p:spPr>
          <a:xfrm>
            <a:off x="267372" y="6491936"/>
            <a:ext cx="119130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Almaty</a:t>
            </a:r>
            <a:r>
              <a:rPr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02</a:t>
            </a:r>
            <a:r>
              <a:rPr lang="ru-RU"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10" name="object 29">
            <a:extLst>
              <a:ext uri="{FF2B5EF4-FFF2-40B4-BE49-F238E27FC236}">
                <a16:creationId xmlns:a16="http://schemas.microsoft.com/office/drawing/2014/main" id="{2487D829-C349-46A5-B5CA-B412356DD2AD}"/>
              </a:ext>
            </a:extLst>
          </p:cNvPr>
          <p:cNvSpPr txBox="1"/>
          <p:nvPr/>
        </p:nvSpPr>
        <p:spPr>
          <a:xfrm>
            <a:off x="267372" y="6247866"/>
            <a:ext cx="93368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Qazaqstan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11" name="object 23">
            <a:extLst>
              <a:ext uri="{FF2B5EF4-FFF2-40B4-BE49-F238E27FC236}">
                <a16:creationId xmlns:a16="http://schemas.microsoft.com/office/drawing/2014/main" id="{017C3587-7422-4D88-B8F2-48984AE58B7A}"/>
              </a:ext>
            </a:extLst>
          </p:cNvPr>
          <p:cNvSpPr/>
          <p:nvPr/>
        </p:nvSpPr>
        <p:spPr>
          <a:xfrm>
            <a:off x="191344" y="188640"/>
            <a:ext cx="409359" cy="500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C6C44B01-7EDC-420A-B691-7C94626CDC65}"/>
              </a:ext>
            </a:extLst>
          </p:cNvPr>
          <p:cNvSpPr/>
          <p:nvPr/>
        </p:nvSpPr>
        <p:spPr>
          <a:xfrm>
            <a:off x="2142011" y="380063"/>
            <a:ext cx="66194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Century Gothic" panose="020B0502020202020204" pitchFamily="34" charset="0"/>
              </a:rPr>
              <a:t>Алматы </a:t>
            </a:r>
            <a:r>
              <a:rPr lang="ru-RU" sz="2000" b="1" dirty="0" err="1">
                <a:latin typeface="Century Gothic" panose="020B0502020202020204" pitchFamily="34" charset="0"/>
              </a:rPr>
              <a:t>қаласы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бойынша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бейнемониторингтің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бірыңғай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жүйесі</a:t>
            </a:r>
            <a:r>
              <a:rPr lang="ru-RU" sz="2000" b="1" dirty="0">
                <a:latin typeface="Century Gothic" panose="020B0502020202020204" pitchFamily="34" charset="0"/>
              </a:rPr>
              <a:t> «БҚБЖ»</a:t>
            </a: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id="{9F9AC253-9B76-4DCC-8011-A8BAAA41E330}"/>
              </a:ext>
            </a:extLst>
          </p:cNvPr>
          <p:cNvSpPr/>
          <p:nvPr/>
        </p:nvSpPr>
        <p:spPr>
          <a:xfrm>
            <a:off x="428443" y="5642632"/>
            <a:ext cx="3874025" cy="45719"/>
          </a:xfrm>
          <a:custGeom>
            <a:avLst/>
            <a:gdLst/>
            <a:ahLst/>
            <a:cxnLst/>
            <a:rect l="l" t="t" r="r" b="b"/>
            <a:pathLst>
              <a:path w="5373370">
                <a:moveTo>
                  <a:pt x="0" y="0"/>
                </a:moveTo>
                <a:lnTo>
                  <a:pt x="5373116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45" name="object 13">
            <a:extLst>
              <a:ext uri="{FF2B5EF4-FFF2-40B4-BE49-F238E27FC236}">
                <a16:creationId xmlns:a16="http://schemas.microsoft.com/office/drawing/2014/main" id="{22F31B25-C0D0-4F91-98EA-4C4E3EFA3ADB}"/>
              </a:ext>
            </a:extLst>
          </p:cNvPr>
          <p:cNvSpPr/>
          <p:nvPr/>
        </p:nvSpPr>
        <p:spPr>
          <a:xfrm>
            <a:off x="7896200" y="5630670"/>
            <a:ext cx="4001550" cy="69641"/>
          </a:xfrm>
          <a:custGeom>
            <a:avLst/>
            <a:gdLst/>
            <a:ahLst/>
            <a:cxnLst/>
            <a:rect l="l" t="t" r="r" b="b"/>
            <a:pathLst>
              <a:path w="5375275">
                <a:moveTo>
                  <a:pt x="0" y="0"/>
                </a:moveTo>
                <a:lnTo>
                  <a:pt x="5374893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46" name="object 16">
            <a:extLst>
              <a:ext uri="{FF2B5EF4-FFF2-40B4-BE49-F238E27FC236}">
                <a16:creationId xmlns:a16="http://schemas.microsoft.com/office/drawing/2014/main" id="{60EB02CE-B911-4D13-B4FD-B958722F0844}"/>
              </a:ext>
            </a:extLst>
          </p:cNvPr>
          <p:cNvSpPr txBox="1"/>
          <p:nvPr/>
        </p:nvSpPr>
        <p:spPr>
          <a:xfrm>
            <a:off x="1631504" y="5531596"/>
            <a:ext cx="887736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202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жылдың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тоқсанына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арналған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міндеттер</a:t>
            </a:r>
            <a:endParaRPr sz="1200" dirty="0">
              <a:solidFill>
                <a:srgbClr val="116EC3"/>
              </a:solidFill>
              <a:latin typeface="Century Gothic" panose="020B0502020202020204" pitchFamily="34" charset="0"/>
              <a:cs typeface="Myanmar Text" panose="020B0502040204020203" pitchFamily="34" charset="0"/>
            </a:endParaRPr>
          </a:p>
        </p:txBody>
      </p:sp>
      <p:sp>
        <p:nvSpPr>
          <p:cNvPr id="47" name="Google Shape;617;p39">
            <a:extLst>
              <a:ext uri="{FF2B5EF4-FFF2-40B4-BE49-F238E27FC236}">
                <a16:creationId xmlns:a16="http://schemas.microsoft.com/office/drawing/2014/main" id="{97ADC6ED-445C-4946-B6BA-C2CBE490FB6F}"/>
              </a:ext>
            </a:extLst>
          </p:cNvPr>
          <p:cNvSpPr/>
          <p:nvPr/>
        </p:nvSpPr>
        <p:spPr>
          <a:xfrm>
            <a:off x="4232976" y="5586818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Google Shape;617;p39">
            <a:extLst>
              <a:ext uri="{FF2B5EF4-FFF2-40B4-BE49-F238E27FC236}">
                <a16:creationId xmlns:a16="http://schemas.microsoft.com/office/drawing/2014/main" id="{F3ECE474-772F-4C33-A57F-E6966325ABD9}"/>
              </a:ext>
            </a:extLst>
          </p:cNvPr>
          <p:cNvSpPr/>
          <p:nvPr/>
        </p:nvSpPr>
        <p:spPr>
          <a:xfrm>
            <a:off x="7846237" y="5594877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" name="object 7">
            <a:extLst>
              <a:ext uri="{FF2B5EF4-FFF2-40B4-BE49-F238E27FC236}">
                <a16:creationId xmlns:a16="http://schemas.microsoft.com/office/drawing/2014/main" id="{4815AE1E-8C1C-457C-BFD6-F67A2CA79012}"/>
              </a:ext>
            </a:extLst>
          </p:cNvPr>
          <p:cNvSpPr txBox="1"/>
          <p:nvPr/>
        </p:nvSpPr>
        <p:spPr>
          <a:xfrm>
            <a:off x="396023" y="1661923"/>
            <a:ext cx="6619433" cy="301524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БҚБЖ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әне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АЕМ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3050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камераның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юджет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екітілд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Алматы қ. ПД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ірлесіп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БМЖ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камераларының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ажеттіліг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зерттелд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Алматы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удандық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әкімдіктеріме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ірлесіп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, БМЖ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мекенжайлар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көрсетілге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3050 камера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ізім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екітілд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БҚБЖ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обас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конкурс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яқталд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еткізуш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нықталд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(«</a:t>
            </a:r>
            <a:r>
              <a:rPr lang="en-US" sz="1200" dirty="0">
                <a:latin typeface="Century Gothic" panose="020B0502020202020204" pitchFamily="34" charset="0"/>
                <a:cs typeface="Foundry Monoline OT3"/>
              </a:rPr>
              <a:t>Innova Tech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»</a:t>
            </a:r>
            <a:r>
              <a:rPr lang="en-US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ЖШС)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Алматы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алас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әлеуметтік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нысандар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ізім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нықталд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2022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ылғ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30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маусымд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«Алматы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ерекше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мәртебес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урал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»</a:t>
            </a:r>
            <a:br>
              <a:rPr lang="ru-RU" sz="1200" dirty="0">
                <a:latin typeface="Century Gothic" panose="020B0502020202020204" pitchFamily="34" charset="0"/>
                <a:cs typeface="Foundry Monoline OT3"/>
              </a:rPr>
            </a:b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ҚР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Заңын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олықтыруларғ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ол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ойылд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олар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деректерд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беру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рналар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үші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қ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өленге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ағдайд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изнестің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ейнекамераларына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ейне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ғындары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өтеусіз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негізде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инауғ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мүмкіндік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беред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Кәмелетке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олмағандарғ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ыныстық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иіспеушілікке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арс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ылмыстар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асағаны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үші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қылмыстық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жауаптылыққа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тартылға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адамдардың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дербес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деректерін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пайдалану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  <a:cs typeface="Foundry Monoline OT3"/>
              </a:rPr>
              <a:t>келісілді</a:t>
            </a:r>
            <a:r>
              <a:rPr lang="ru-RU" sz="1200" dirty="0">
                <a:latin typeface="Century Gothic" panose="020B0502020202020204" pitchFamily="34" charset="0"/>
                <a:cs typeface="Foundry Monoline OT3"/>
              </a:rPr>
              <a:t>.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92CC5777-86D6-4979-BEB9-14D2CA35B3B0}"/>
              </a:ext>
            </a:extLst>
          </p:cNvPr>
          <p:cNvSpPr/>
          <p:nvPr/>
        </p:nvSpPr>
        <p:spPr>
          <a:xfrm>
            <a:off x="568987" y="1288015"/>
            <a:ext cx="63590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marR="3810" algn="ctr">
              <a:spcBef>
                <a:spcPts val="75"/>
              </a:spcBef>
            </a:pPr>
            <a:r>
              <a:rPr lang="ru-RU" b="1" spc="-15" dirty="0">
                <a:latin typeface="Century Gothic" panose="020B0502020202020204" pitchFamily="34" charset="0"/>
              </a:rPr>
              <a:t>ЕСМ </a:t>
            </a:r>
            <a:r>
              <a:rPr lang="ru-RU" b="1" spc="-15" dirty="0" err="1">
                <a:latin typeface="Century Gothic" panose="020B0502020202020204" pitchFamily="34" charset="0"/>
              </a:rPr>
              <a:t>жобасы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бойынша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аяқталған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жұмыстар</a:t>
            </a:r>
            <a:r>
              <a:rPr lang="ru-RU" b="1" spc="-15" dirty="0">
                <a:latin typeface="Century Gothic" panose="020B0502020202020204" pitchFamily="34" charset="0"/>
              </a:rPr>
              <a:t>: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5C898A4F-B56B-47EA-8C85-11B0B44287FA}"/>
              </a:ext>
            </a:extLst>
          </p:cNvPr>
          <p:cNvSpPr/>
          <p:nvPr/>
        </p:nvSpPr>
        <p:spPr>
          <a:xfrm>
            <a:off x="7965213" y="1290857"/>
            <a:ext cx="1643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latin typeface="Century Gothic" pitchFamily="34" charset="0"/>
              </a:rPr>
              <a:t>Жұмыста</a:t>
            </a:r>
            <a:endParaRPr lang="ru-RU" b="1" dirty="0">
              <a:latin typeface="Century Gothic" pitchFamily="34" charset="0"/>
            </a:endParaRPr>
          </a:p>
        </p:txBody>
      </p:sp>
      <p:sp>
        <p:nvSpPr>
          <p:cNvPr id="56" name="object 7">
            <a:extLst>
              <a:ext uri="{FF2B5EF4-FFF2-40B4-BE49-F238E27FC236}">
                <a16:creationId xmlns:a16="http://schemas.microsoft.com/office/drawing/2014/main" id="{A135F17F-D7DC-4CA9-9E34-4C74B91BF510}"/>
              </a:ext>
            </a:extLst>
          </p:cNvPr>
          <p:cNvSpPr txBox="1"/>
          <p:nvPr/>
        </p:nvSpPr>
        <p:spPr>
          <a:xfrm>
            <a:off x="7291688" y="1683321"/>
            <a:ext cx="4631647" cy="222990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3050 камера БМЖ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обас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конкурс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арияланд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400" b="1" dirty="0">
                <a:latin typeface="Century Gothic" panose="020B0502020202020204" pitchFamily="34" charset="0"/>
              </a:rPr>
              <a:t> «Алматы </a:t>
            </a:r>
            <a:r>
              <a:rPr lang="ru-RU" sz="1400" b="1" dirty="0" err="1">
                <a:latin typeface="Century Gothic" panose="020B0502020202020204" pitchFamily="34" charset="0"/>
              </a:rPr>
              <a:t>қаласының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ерекше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мәртебесі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туралы</a:t>
            </a:r>
            <a:r>
              <a:rPr lang="ru-RU" sz="1400" b="1" dirty="0">
                <a:latin typeface="Century Gothic" panose="020B0502020202020204" pitchFamily="34" charset="0"/>
              </a:rPr>
              <a:t>» ҚР </a:t>
            </a:r>
            <a:r>
              <a:rPr lang="ru-RU" sz="1400" b="1" dirty="0" err="1">
                <a:latin typeface="Century Gothic" panose="020B0502020202020204" pitchFamily="34" charset="0"/>
              </a:rPr>
              <a:t>Заңы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аясында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камералар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бойынша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ережелер</a:t>
            </a:r>
            <a:r>
              <a:rPr lang="ru-RU" sz="1400" b="1" dirty="0">
                <a:latin typeface="Century Gothic" panose="020B0502020202020204" pitchFamily="34" charset="0"/>
              </a:rPr>
              <a:t>» </a:t>
            </a:r>
            <a:r>
              <a:rPr lang="ru-RU" sz="1400" dirty="0">
                <a:latin typeface="Century Gothic" panose="020B0502020202020204" pitchFamily="34" charset="0"/>
              </a:rPr>
              <a:t>Алматы </a:t>
            </a:r>
            <a:r>
              <a:rPr lang="ru-RU" sz="1400" dirty="0" err="1">
                <a:latin typeface="Century Gothic" panose="020B0502020202020204" pitchFamily="34" charset="0"/>
              </a:rPr>
              <a:t>қалас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әкімдігінің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заң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өлімімен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ірлесіп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пысықталуда</a:t>
            </a:r>
            <a:r>
              <a:rPr lang="ru-RU" sz="1400" dirty="0">
                <a:latin typeface="Century Gothic" panose="020B0502020202020204" pitchFamily="34" charset="0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Алматы </a:t>
            </a:r>
            <a:r>
              <a:rPr lang="ru-RU" sz="1400" dirty="0" err="1">
                <a:latin typeface="Century Gothic" panose="020B0502020202020204" pitchFamily="34" charset="0"/>
              </a:rPr>
              <a:t>қалас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арлық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нысандарды</a:t>
            </a:r>
            <a:r>
              <a:rPr lang="ru-RU" sz="1400" dirty="0">
                <a:latin typeface="Century Gothic" panose="020B0502020202020204" pitchFamily="34" charset="0"/>
              </a:rPr>
              <a:t> БҚБЖ-</a:t>
            </a:r>
            <a:r>
              <a:rPr lang="ru-RU" sz="1400" dirty="0" err="1">
                <a:latin typeface="Century Gothic" panose="020B0502020202020204" pitchFamily="34" charset="0"/>
              </a:rPr>
              <a:t>ге</a:t>
            </a:r>
            <a:r>
              <a:rPr lang="ru-RU" sz="1400" dirty="0">
                <a:latin typeface="Century Gothic" panose="020B0502020202020204" pitchFamily="34" charset="0"/>
              </a:rPr>
              <a:t> МО БКО </a:t>
            </a:r>
            <a:r>
              <a:rPr lang="ru-RU" sz="1400" dirty="0" err="1">
                <a:latin typeface="Century Gothic" panose="020B0502020202020204" pitchFamily="34" charset="0"/>
              </a:rPr>
              <a:t>арнас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арқыл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осу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пысықталуда</a:t>
            </a:r>
            <a:r>
              <a:rPr lang="ru-RU" sz="1400" dirty="0">
                <a:latin typeface="Century Gothic" panose="020B0502020202020204" pitchFamily="34" charset="0"/>
              </a:rPr>
              <a:t>.</a:t>
            </a:r>
            <a:endParaRPr lang="ru-KZ" sz="1400" dirty="0">
              <a:latin typeface="Century Gothic" panose="020B0502020202020204" pitchFamily="34" charset="0"/>
            </a:endParaRPr>
          </a:p>
        </p:txBody>
      </p:sp>
      <p:sp>
        <p:nvSpPr>
          <p:cNvPr id="57" name="Google Shape;599;p39">
            <a:extLst>
              <a:ext uri="{FF2B5EF4-FFF2-40B4-BE49-F238E27FC236}">
                <a16:creationId xmlns:a16="http://schemas.microsoft.com/office/drawing/2014/main" id="{F7225BDA-4CD8-4360-A7A6-30E2FD8C2724}"/>
              </a:ext>
            </a:extLst>
          </p:cNvPr>
          <p:cNvSpPr/>
          <p:nvPr/>
        </p:nvSpPr>
        <p:spPr>
          <a:xfrm>
            <a:off x="7619378" y="1337341"/>
            <a:ext cx="276822" cy="282646"/>
          </a:xfrm>
          <a:prstGeom prst="ellipse">
            <a:avLst/>
          </a:prstGeom>
          <a:solidFill>
            <a:srgbClr val="FFC000"/>
          </a:solidFill>
          <a:ln w="19050" cap="flat" cmpd="sng">
            <a:solidFill>
              <a:srgbClr val="64646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598;p39">
            <a:extLst>
              <a:ext uri="{FF2B5EF4-FFF2-40B4-BE49-F238E27FC236}">
                <a16:creationId xmlns:a16="http://schemas.microsoft.com/office/drawing/2014/main" id="{7973EC43-E46D-49F8-8D3B-BB2CD2132AFB}"/>
              </a:ext>
            </a:extLst>
          </p:cNvPr>
          <p:cNvSpPr/>
          <p:nvPr/>
        </p:nvSpPr>
        <p:spPr>
          <a:xfrm>
            <a:off x="579238" y="1337787"/>
            <a:ext cx="254069" cy="282646"/>
          </a:xfrm>
          <a:prstGeom prst="ellipse">
            <a:avLst/>
          </a:prstGeom>
          <a:solidFill>
            <a:srgbClr val="00B050"/>
          </a:solidFill>
          <a:ln w="19050" cap="flat" cmpd="sng">
            <a:solidFill>
              <a:srgbClr val="64646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Google Shape;499;p39">
            <a:extLst>
              <a:ext uri="{FF2B5EF4-FFF2-40B4-BE49-F238E27FC236}">
                <a16:creationId xmlns:a16="http://schemas.microsoft.com/office/drawing/2014/main" id="{8E218D24-45AE-411E-B1CE-56EEAD73F357}"/>
              </a:ext>
            </a:extLst>
          </p:cNvPr>
          <p:cNvSpPr txBox="1"/>
          <p:nvPr/>
        </p:nvSpPr>
        <p:spPr>
          <a:xfrm>
            <a:off x="1990379" y="5835564"/>
            <a:ext cx="8211242" cy="600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70C0"/>
              </a:buClr>
              <a:buSzPts val="1000"/>
            </a:pP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ОӘМ Алматы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лас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әкімінің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улысыме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ШЖҚ «Алматы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ласының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ұтқар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ызметі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» МКК-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ға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екіт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.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лалық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объектінің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амералары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БҚБЖ-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ге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езең-кезеңме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ос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. Алматы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ласының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арлық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аудандар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ойынша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БМЖ 3050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амералары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орнат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67949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2">
            <a:extLst>
              <a:ext uri="{FF2B5EF4-FFF2-40B4-BE49-F238E27FC236}">
                <a16:creationId xmlns:a16="http://schemas.microsoft.com/office/drawing/2014/main" id="{3B58B663-7420-44EE-BC9D-7FB2DF68FF2F}"/>
              </a:ext>
            </a:extLst>
          </p:cNvPr>
          <p:cNvSpPr/>
          <p:nvPr/>
        </p:nvSpPr>
        <p:spPr>
          <a:xfrm>
            <a:off x="179997" y="179997"/>
            <a:ext cx="11832590" cy="6498590"/>
          </a:xfrm>
          <a:custGeom>
            <a:avLst/>
            <a:gdLst/>
            <a:ahLst/>
            <a:cxnLst/>
            <a:rect l="l" t="t" r="r" b="b"/>
            <a:pathLst>
              <a:path w="11832590" h="6498590">
                <a:moveTo>
                  <a:pt x="0" y="0"/>
                </a:moveTo>
                <a:lnTo>
                  <a:pt x="11832005" y="0"/>
                </a:lnTo>
                <a:lnTo>
                  <a:pt x="11832005" y="6498005"/>
                </a:lnTo>
                <a:lnTo>
                  <a:pt x="0" y="649800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EE3235"/>
            </a:solidFill>
          </a:ln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7" name="object 24">
            <a:extLst>
              <a:ext uri="{FF2B5EF4-FFF2-40B4-BE49-F238E27FC236}">
                <a16:creationId xmlns:a16="http://schemas.microsoft.com/office/drawing/2014/main" id="{28E7CFCD-89BE-428A-91AB-162754400283}"/>
              </a:ext>
            </a:extLst>
          </p:cNvPr>
          <p:cNvSpPr/>
          <p:nvPr/>
        </p:nvSpPr>
        <p:spPr>
          <a:xfrm>
            <a:off x="768430" y="314360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96" y="20205"/>
                </a:moveTo>
                <a:lnTo>
                  <a:pt x="664641" y="20205"/>
                </a:lnTo>
                <a:lnTo>
                  <a:pt x="664641" y="68656"/>
                </a:lnTo>
                <a:lnTo>
                  <a:pt x="664933" y="68656"/>
                </a:lnTo>
                <a:lnTo>
                  <a:pt x="670039" y="69062"/>
                </a:lnTo>
                <a:lnTo>
                  <a:pt x="676935" y="69265"/>
                </a:lnTo>
                <a:lnTo>
                  <a:pt x="692073" y="69265"/>
                </a:lnTo>
                <a:lnTo>
                  <a:pt x="696607" y="68186"/>
                </a:lnTo>
                <a:lnTo>
                  <a:pt x="701916" y="63868"/>
                </a:lnTo>
                <a:lnTo>
                  <a:pt x="702343" y="62598"/>
                </a:lnTo>
                <a:lnTo>
                  <a:pt x="684339" y="62598"/>
                </a:lnTo>
                <a:lnTo>
                  <a:pt x="672896" y="62496"/>
                </a:lnTo>
                <a:lnTo>
                  <a:pt x="672896" y="45275"/>
                </a:lnTo>
                <a:lnTo>
                  <a:pt x="702162" y="45275"/>
                </a:lnTo>
                <a:lnTo>
                  <a:pt x="701890" y="44488"/>
                </a:lnTo>
                <a:lnTo>
                  <a:pt x="696442" y="40106"/>
                </a:lnTo>
                <a:lnTo>
                  <a:pt x="691502" y="39001"/>
                </a:lnTo>
                <a:lnTo>
                  <a:pt x="672896" y="39001"/>
                </a:lnTo>
                <a:lnTo>
                  <a:pt x="672896" y="20205"/>
                </a:lnTo>
                <a:close/>
              </a:path>
              <a:path w="720725" h="70484">
                <a:moveTo>
                  <a:pt x="702162" y="45275"/>
                </a:moveTo>
                <a:lnTo>
                  <a:pt x="688314" y="45275"/>
                </a:lnTo>
                <a:lnTo>
                  <a:pt x="691045" y="45885"/>
                </a:lnTo>
                <a:lnTo>
                  <a:pt x="693953" y="48348"/>
                </a:lnTo>
                <a:lnTo>
                  <a:pt x="694690" y="50584"/>
                </a:lnTo>
                <a:lnTo>
                  <a:pt x="694690" y="57353"/>
                </a:lnTo>
                <a:lnTo>
                  <a:pt x="693940" y="59689"/>
                </a:lnTo>
                <a:lnTo>
                  <a:pt x="690956" y="62014"/>
                </a:lnTo>
                <a:lnTo>
                  <a:pt x="688251" y="62598"/>
                </a:lnTo>
                <a:lnTo>
                  <a:pt x="702343" y="62598"/>
                </a:lnTo>
                <a:lnTo>
                  <a:pt x="703249" y="59905"/>
                </a:lnTo>
                <a:lnTo>
                  <a:pt x="703223" y="48348"/>
                </a:lnTo>
                <a:lnTo>
                  <a:pt x="702162" y="45275"/>
                </a:lnTo>
                <a:close/>
              </a:path>
              <a:path w="720725" h="70484">
                <a:moveTo>
                  <a:pt x="720661" y="20205"/>
                </a:moveTo>
                <a:lnTo>
                  <a:pt x="712101" y="20205"/>
                </a:lnTo>
                <a:lnTo>
                  <a:pt x="712101" y="68656"/>
                </a:lnTo>
                <a:lnTo>
                  <a:pt x="720661" y="68656"/>
                </a:lnTo>
                <a:lnTo>
                  <a:pt x="720661" y="20205"/>
                </a:lnTo>
                <a:close/>
              </a:path>
              <a:path w="720725" h="70484">
                <a:moveTo>
                  <a:pt x="642747" y="19011"/>
                </a:moveTo>
                <a:lnTo>
                  <a:pt x="628015" y="19011"/>
                </a:lnTo>
                <a:lnTo>
                  <a:pt x="622096" y="20916"/>
                </a:lnTo>
                <a:lnTo>
                  <a:pt x="615124" y="28549"/>
                </a:lnTo>
                <a:lnTo>
                  <a:pt x="613384" y="35090"/>
                </a:lnTo>
                <a:lnTo>
                  <a:pt x="613384" y="53733"/>
                </a:lnTo>
                <a:lnTo>
                  <a:pt x="615111" y="60324"/>
                </a:lnTo>
                <a:lnTo>
                  <a:pt x="622007" y="67944"/>
                </a:lnTo>
                <a:lnTo>
                  <a:pt x="627951" y="69862"/>
                </a:lnTo>
                <a:lnTo>
                  <a:pt x="642683" y="69862"/>
                </a:lnTo>
                <a:lnTo>
                  <a:pt x="648182" y="69024"/>
                </a:lnTo>
                <a:lnTo>
                  <a:pt x="652894" y="67373"/>
                </a:lnTo>
                <a:lnTo>
                  <a:pt x="652235" y="62699"/>
                </a:lnTo>
                <a:lnTo>
                  <a:pt x="631926" y="62699"/>
                </a:lnTo>
                <a:lnTo>
                  <a:pt x="627888" y="61404"/>
                </a:lnTo>
                <a:lnTo>
                  <a:pt x="623379" y="56222"/>
                </a:lnTo>
                <a:lnTo>
                  <a:pt x="622249" y="51409"/>
                </a:lnTo>
                <a:lnTo>
                  <a:pt x="622249" y="37414"/>
                </a:lnTo>
                <a:lnTo>
                  <a:pt x="623392" y="32638"/>
                </a:lnTo>
                <a:lnTo>
                  <a:pt x="627964" y="27470"/>
                </a:lnTo>
                <a:lnTo>
                  <a:pt x="631990" y="26174"/>
                </a:lnTo>
                <a:lnTo>
                  <a:pt x="651019" y="26174"/>
                </a:lnTo>
                <a:lnTo>
                  <a:pt x="651992" y="21297"/>
                </a:lnTo>
                <a:lnTo>
                  <a:pt x="647954" y="19773"/>
                </a:lnTo>
                <a:lnTo>
                  <a:pt x="642747" y="19011"/>
                </a:lnTo>
                <a:close/>
              </a:path>
              <a:path w="720725" h="70484">
                <a:moveTo>
                  <a:pt x="652094" y="61696"/>
                </a:moveTo>
                <a:lnTo>
                  <a:pt x="647915" y="62356"/>
                </a:lnTo>
                <a:lnTo>
                  <a:pt x="643140" y="62699"/>
                </a:lnTo>
                <a:lnTo>
                  <a:pt x="652235" y="62699"/>
                </a:lnTo>
                <a:lnTo>
                  <a:pt x="652094" y="61696"/>
                </a:lnTo>
                <a:close/>
              </a:path>
              <a:path w="720725" h="70484">
                <a:moveTo>
                  <a:pt x="651019" y="26174"/>
                </a:moveTo>
                <a:lnTo>
                  <a:pt x="642150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9" y="26174"/>
                </a:lnTo>
                <a:close/>
              </a:path>
              <a:path w="720725" h="70484">
                <a:moveTo>
                  <a:pt x="599338" y="26174"/>
                </a:moveTo>
                <a:lnTo>
                  <a:pt x="585660" y="26174"/>
                </a:lnTo>
                <a:lnTo>
                  <a:pt x="588213" y="26796"/>
                </a:lnTo>
                <a:lnTo>
                  <a:pt x="590994" y="29324"/>
                </a:lnTo>
                <a:lnTo>
                  <a:pt x="591731" y="31483"/>
                </a:lnTo>
                <a:lnTo>
                  <a:pt x="591794" y="38811"/>
                </a:lnTo>
                <a:lnTo>
                  <a:pt x="567347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47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402" y="68681"/>
                </a:lnTo>
                <a:lnTo>
                  <a:pt x="587362" y="65163"/>
                </a:lnTo>
                <a:lnTo>
                  <a:pt x="590270" y="63093"/>
                </a:lnTo>
                <a:lnTo>
                  <a:pt x="590987" y="62356"/>
                </a:lnTo>
                <a:lnTo>
                  <a:pt x="576859" y="62356"/>
                </a:lnTo>
                <a:lnTo>
                  <a:pt x="574281" y="62293"/>
                </a:lnTo>
                <a:lnTo>
                  <a:pt x="571690" y="62293"/>
                </a:lnTo>
                <a:lnTo>
                  <a:pt x="569785" y="61709"/>
                </a:lnTo>
                <a:lnTo>
                  <a:pt x="567321" y="59385"/>
                </a:lnTo>
                <a:lnTo>
                  <a:pt x="566724" y="57543"/>
                </a:lnTo>
                <a:lnTo>
                  <a:pt x="566724" y="47701"/>
                </a:lnTo>
                <a:lnTo>
                  <a:pt x="568845" y="45478"/>
                </a:lnTo>
                <a:lnTo>
                  <a:pt x="573087" y="45275"/>
                </a:lnTo>
                <a:lnTo>
                  <a:pt x="600252" y="45275"/>
                </a:lnTo>
                <a:lnTo>
                  <a:pt x="600252" y="28892"/>
                </a:lnTo>
                <a:lnTo>
                  <a:pt x="599338" y="26174"/>
                </a:lnTo>
                <a:close/>
              </a:path>
              <a:path w="720725" h="70484">
                <a:moveTo>
                  <a:pt x="600252" y="60705"/>
                </a:moveTo>
                <a:lnTo>
                  <a:pt x="592594" y="60705"/>
                </a:lnTo>
                <a:lnTo>
                  <a:pt x="593585" y="68656"/>
                </a:lnTo>
                <a:lnTo>
                  <a:pt x="600252" y="68656"/>
                </a:lnTo>
                <a:lnTo>
                  <a:pt x="600252" y="60705"/>
                </a:lnTo>
                <a:close/>
              </a:path>
              <a:path w="720725" h="70484">
                <a:moveTo>
                  <a:pt x="600252" y="45275"/>
                </a:moveTo>
                <a:lnTo>
                  <a:pt x="591794" y="45275"/>
                </a:lnTo>
                <a:lnTo>
                  <a:pt x="591794" y="55029"/>
                </a:lnTo>
                <a:lnTo>
                  <a:pt x="589076" y="57416"/>
                </a:lnTo>
                <a:lnTo>
                  <a:pt x="586117" y="59245"/>
                </a:lnTo>
                <a:lnTo>
                  <a:pt x="579755" y="61760"/>
                </a:lnTo>
                <a:lnTo>
                  <a:pt x="576859" y="62356"/>
                </a:lnTo>
                <a:lnTo>
                  <a:pt x="590987" y="62356"/>
                </a:lnTo>
                <a:lnTo>
                  <a:pt x="592594" y="60705"/>
                </a:lnTo>
                <a:lnTo>
                  <a:pt x="600252" y="60705"/>
                </a:lnTo>
                <a:lnTo>
                  <a:pt x="600252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100" y="19011"/>
                </a:lnTo>
                <a:lnTo>
                  <a:pt x="569264" y="19735"/>
                </a:lnTo>
                <a:lnTo>
                  <a:pt x="560247" y="21196"/>
                </a:lnTo>
                <a:lnTo>
                  <a:pt x="561047" y="27470"/>
                </a:lnTo>
                <a:lnTo>
                  <a:pt x="570268" y="26606"/>
                </a:lnTo>
                <a:lnTo>
                  <a:pt x="577227" y="26174"/>
                </a:lnTo>
                <a:lnTo>
                  <a:pt x="599338" y="26174"/>
                </a:lnTo>
                <a:lnTo>
                  <a:pt x="598906" y="24891"/>
                </a:lnTo>
                <a:lnTo>
                  <a:pt x="593534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44" y="20205"/>
                </a:lnTo>
                <a:lnTo>
                  <a:pt x="517359" y="21132"/>
                </a:lnTo>
                <a:lnTo>
                  <a:pt x="513372" y="24841"/>
                </a:lnTo>
                <a:lnTo>
                  <a:pt x="512152" y="27698"/>
                </a:lnTo>
                <a:lnTo>
                  <a:pt x="511683" y="31546"/>
                </a:lnTo>
                <a:lnTo>
                  <a:pt x="510425" y="43751"/>
                </a:lnTo>
                <a:lnTo>
                  <a:pt x="509003" y="51879"/>
                </a:lnTo>
                <a:lnTo>
                  <a:pt x="498856" y="62699"/>
                </a:lnTo>
                <a:lnTo>
                  <a:pt x="499745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98" y="29108"/>
                </a:lnTo>
                <a:lnTo>
                  <a:pt x="522376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9" y="26174"/>
                </a:moveTo>
                <a:lnTo>
                  <a:pt x="474802" y="26174"/>
                </a:lnTo>
                <a:lnTo>
                  <a:pt x="477354" y="26796"/>
                </a:lnTo>
                <a:lnTo>
                  <a:pt x="480148" y="29324"/>
                </a:lnTo>
                <a:lnTo>
                  <a:pt x="480872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99" y="39852"/>
                </a:lnTo>
                <a:lnTo>
                  <a:pt x="448487" y="44030"/>
                </a:lnTo>
                <a:lnTo>
                  <a:pt x="447306" y="46964"/>
                </a:lnTo>
                <a:lnTo>
                  <a:pt x="447306" y="60337"/>
                </a:lnTo>
                <a:lnTo>
                  <a:pt x="448589" y="63665"/>
                </a:lnTo>
                <a:lnTo>
                  <a:pt x="453771" y="68376"/>
                </a:lnTo>
                <a:lnTo>
                  <a:pt x="457288" y="69557"/>
                </a:lnTo>
                <a:lnTo>
                  <a:pt x="465772" y="69557"/>
                </a:lnTo>
                <a:lnTo>
                  <a:pt x="469544" y="68681"/>
                </a:lnTo>
                <a:lnTo>
                  <a:pt x="476516" y="65163"/>
                </a:lnTo>
                <a:lnTo>
                  <a:pt x="479412" y="63093"/>
                </a:lnTo>
                <a:lnTo>
                  <a:pt x="480129" y="62356"/>
                </a:lnTo>
                <a:lnTo>
                  <a:pt x="466013" y="62356"/>
                </a:lnTo>
                <a:lnTo>
                  <a:pt x="463423" y="62293"/>
                </a:lnTo>
                <a:lnTo>
                  <a:pt x="460844" y="62293"/>
                </a:lnTo>
                <a:lnTo>
                  <a:pt x="458927" y="61709"/>
                </a:lnTo>
                <a:lnTo>
                  <a:pt x="456476" y="59385"/>
                </a:lnTo>
                <a:lnTo>
                  <a:pt x="455866" y="57543"/>
                </a:lnTo>
                <a:lnTo>
                  <a:pt x="455866" y="47701"/>
                </a:lnTo>
                <a:lnTo>
                  <a:pt x="457987" y="45478"/>
                </a:lnTo>
                <a:lnTo>
                  <a:pt x="462229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9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36" y="60705"/>
                </a:lnTo>
                <a:lnTo>
                  <a:pt x="482727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18" y="57416"/>
                </a:lnTo>
                <a:lnTo>
                  <a:pt x="475259" y="59245"/>
                </a:lnTo>
                <a:lnTo>
                  <a:pt x="468896" y="61760"/>
                </a:lnTo>
                <a:lnTo>
                  <a:pt x="466013" y="62356"/>
                </a:lnTo>
                <a:lnTo>
                  <a:pt x="480129" y="62356"/>
                </a:lnTo>
                <a:lnTo>
                  <a:pt x="481736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510" y="19011"/>
                </a:moveTo>
                <a:lnTo>
                  <a:pt x="466242" y="19011"/>
                </a:lnTo>
                <a:lnTo>
                  <a:pt x="458419" y="19735"/>
                </a:lnTo>
                <a:lnTo>
                  <a:pt x="449389" y="21196"/>
                </a:lnTo>
                <a:lnTo>
                  <a:pt x="450189" y="27470"/>
                </a:lnTo>
                <a:lnTo>
                  <a:pt x="459409" y="26606"/>
                </a:lnTo>
                <a:lnTo>
                  <a:pt x="466382" y="26174"/>
                </a:lnTo>
                <a:lnTo>
                  <a:pt x="488479" y="26174"/>
                </a:lnTo>
                <a:lnTo>
                  <a:pt x="488048" y="24891"/>
                </a:lnTo>
                <a:lnTo>
                  <a:pt x="482676" y="20180"/>
                </a:lnTo>
                <a:lnTo>
                  <a:pt x="478510" y="19011"/>
                </a:lnTo>
                <a:close/>
              </a:path>
              <a:path w="720725" h="70484">
                <a:moveTo>
                  <a:pt x="405015" y="20205"/>
                </a:moveTo>
                <a:lnTo>
                  <a:pt x="396557" y="20205"/>
                </a:lnTo>
                <a:lnTo>
                  <a:pt x="396557" y="68656"/>
                </a:lnTo>
                <a:lnTo>
                  <a:pt x="405015" y="68656"/>
                </a:lnTo>
                <a:lnTo>
                  <a:pt x="404890" y="49060"/>
                </a:lnTo>
                <a:lnTo>
                  <a:pt x="404609" y="46774"/>
                </a:lnTo>
                <a:lnTo>
                  <a:pt x="427304" y="46774"/>
                </a:lnTo>
                <a:lnTo>
                  <a:pt x="418744" y="43586"/>
                </a:lnTo>
                <a:lnTo>
                  <a:pt x="418744" y="43281"/>
                </a:lnTo>
                <a:lnTo>
                  <a:pt x="426639" y="40208"/>
                </a:lnTo>
                <a:lnTo>
                  <a:pt x="404520" y="40208"/>
                </a:lnTo>
                <a:lnTo>
                  <a:pt x="404795" y="38544"/>
                </a:lnTo>
                <a:lnTo>
                  <a:pt x="404916" y="37477"/>
                </a:lnTo>
                <a:lnTo>
                  <a:pt x="405015" y="20205"/>
                </a:lnTo>
                <a:close/>
              </a:path>
              <a:path w="720725" h="70484">
                <a:moveTo>
                  <a:pt x="427304" y="46774"/>
                </a:moveTo>
                <a:lnTo>
                  <a:pt x="413169" y="46774"/>
                </a:lnTo>
                <a:lnTo>
                  <a:pt x="414426" y="46951"/>
                </a:lnTo>
                <a:lnTo>
                  <a:pt x="416687" y="47675"/>
                </a:lnTo>
                <a:lnTo>
                  <a:pt x="429793" y="68656"/>
                </a:lnTo>
                <a:lnTo>
                  <a:pt x="438645" y="68656"/>
                </a:lnTo>
                <a:lnTo>
                  <a:pt x="428599" y="47993"/>
                </a:lnTo>
                <a:lnTo>
                  <a:pt x="427304" y="46774"/>
                </a:lnTo>
                <a:close/>
              </a:path>
              <a:path w="720725" h="70484">
                <a:moveTo>
                  <a:pt x="437261" y="20205"/>
                </a:moveTo>
                <a:lnTo>
                  <a:pt x="428498" y="20205"/>
                </a:lnTo>
                <a:lnTo>
                  <a:pt x="427101" y="24053"/>
                </a:lnTo>
                <a:lnTo>
                  <a:pt x="425983" y="26936"/>
                </a:lnTo>
                <a:lnTo>
                  <a:pt x="413600" y="40208"/>
                </a:lnTo>
                <a:lnTo>
                  <a:pt x="426639" y="40208"/>
                </a:lnTo>
                <a:lnTo>
                  <a:pt x="428371" y="38544"/>
                </a:lnTo>
                <a:lnTo>
                  <a:pt x="429425" y="37477"/>
                </a:lnTo>
                <a:lnTo>
                  <a:pt x="430022" y="36588"/>
                </a:lnTo>
                <a:lnTo>
                  <a:pt x="431342" y="34061"/>
                </a:lnTo>
                <a:lnTo>
                  <a:pt x="432676" y="31699"/>
                </a:lnTo>
                <a:lnTo>
                  <a:pt x="433222" y="30479"/>
                </a:lnTo>
                <a:lnTo>
                  <a:pt x="435876" y="23926"/>
                </a:lnTo>
                <a:lnTo>
                  <a:pt x="437261" y="20205"/>
                </a:lnTo>
                <a:close/>
              </a:path>
              <a:path w="720725" h="70484">
                <a:moveTo>
                  <a:pt x="310870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20" y="68656"/>
                </a:lnTo>
                <a:lnTo>
                  <a:pt x="308025" y="69062"/>
                </a:lnTo>
                <a:lnTo>
                  <a:pt x="314921" y="69265"/>
                </a:lnTo>
                <a:lnTo>
                  <a:pt x="330047" y="69265"/>
                </a:lnTo>
                <a:lnTo>
                  <a:pt x="334594" y="68186"/>
                </a:lnTo>
                <a:lnTo>
                  <a:pt x="339902" y="63868"/>
                </a:lnTo>
                <a:lnTo>
                  <a:pt x="340326" y="62598"/>
                </a:lnTo>
                <a:lnTo>
                  <a:pt x="322326" y="62598"/>
                </a:lnTo>
                <a:lnTo>
                  <a:pt x="310870" y="62496"/>
                </a:lnTo>
                <a:lnTo>
                  <a:pt x="310870" y="45275"/>
                </a:lnTo>
                <a:lnTo>
                  <a:pt x="340136" y="45275"/>
                </a:lnTo>
                <a:lnTo>
                  <a:pt x="339864" y="44488"/>
                </a:lnTo>
                <a:lnTo>
                  <a:pt x="334429" y="40106"/>
                </a:lnTo>
                <a:lnTo>
                  <a:pt x="329476" y="39001"/>
                </a:lnTo>
                <a:lnTo>
                  <a:pt x="310870" y="39001"/>
                </a:lnTo>
                <a:lnTo>
                  <a:pt x="310870" y="20205"/>
                </a:lnTo>
                <a:close/>
              </a:path>
              <a:path w="720725" h="70484">
                <a:moveTo>
                  <a:pt x="340136" y="45275"/>
                </a:moveTo>
                <a:lnTo>
                  <a:pt x="326301" y="45275"/>
                </a:lnTo>
                <a:lnTo>
                  <a:pt x="329018" y="45885"/>
                </a:lnTo>
                <a:lnTo>
                  <a:pt x="331939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14" y="59689"/>
                </a:lnTo>
                <a:lnTo>
                  <a:pt x="328942" y="62014"/>
                </a:lnTo>
                <a:lnTo>
                  <a:pt x="326237" y="62598"/>
                </a:lnTo>
                <a:lnTo>
                  <a:pt x="340326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3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63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63" y="27165"/>
                </a:lnTo>
                <a:lnTo>
                  <a:pt x="292163" y="20205"/>
                </a:lnTo>
                <a:close/>
              </a:path>
              <a:path w="720725" h="70484">
                <a:moveTo>
                  <a:pt x="237718" y="26174"/>
                </a:moveTo>
                <a:lnTo>
                  <a:pt x="224040" y="26174"/>
                </a:lnTo>
                <a:lnTo>
                  <a:pt x="226580" y="26796"/>
                </a:lnTo>
                <a:lnTo>
                  <a:pt x="229374" y="29324"/>
                </a:lnTo>
                <a:lnTo>
                  <a:pt x="230111" y="31483"/>
                </a:lnTo>
                <a:lnTo>
                  <a:pt x="230174" y="38811"/>
                </a:lnTo>
                <a:lnTo>
                  <a:pt x="205727" y="38811"/>
                </a:lnTo>
                <a:lnTo>
                  <a:pt x="202425" y="39852"/>
                </a:lnTo>
                <a:lnTo>
                  <a:pt x="197713" y="44030"/>
                </a:lnTo>
                <a:lnTo>
                  <a:pt x="196532" y="46964"/>
                </a:lnTo>
                <a:lnTo>
                  <a:pt x="196532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14" y="69557"/>
                </a:lnTo>
                <a:lnTo>
                  <a:pt x="215011" y="69557"/>
                </a:lnTo>
                <a:lnTo>
                  <a:pt x="218782" y="68681"/>
                </a:lnTo>
                <a:lnTo>
                  <a:pt x="225742" y="65163"/>
                </a:lnTo>
                <a:lnTo>
                  <a:pt x="228650" y="63093"/>
                </a:lnTo>
                <a:lnTo>
                  <a:pt x="229367" y="62356"/>
                </a:lnTo>
                <a:lnTo>
                  <a:pt x="215239" y="62356"/>
                </a:lnTo>
                <a:lnTo>
                  <a:pt x="212661" y="62293"/>
                </a:lnTo>
                <a:lnTo>
                  <a:pt x="210070" y="62293"/>
                </a:lnTo>
                <a:lnTo>
                  <a:pt x="208165" y="61709"/>
                </a:lnTo>
                <a:lnTo>
                  <a:pt x="205701" y="59385"/>
                </a:lnTo>
                <a:lnTo>
                  <a:pt x="205105" y="57543"/>
                </a:lnTo>
                <a:lnTo>
                  <a:pt x="205105" y="47701"/>
                </a:lnTo>
                <a:lnTo>
                  <a:pt x="207225" y="45478"/>
                </a:lnTo>
                <a:lnTo>
                  <a:pt x="211467" y="45275"/>
                </a:lnTo>
                <a:lnTo>
                  <a:pt x="238633" y="45275"/>
                </a:lnTo>
                <a:lnTo>
                  <a:pt x="238633" y="28892"/>
                </a:lnTo>
                <a:lnTo>
                  <a:pt x="237718" y="26174"/>
                </a:lnTo>
                <a:close/>
              </a:path>
              <a:path w="720725" h="70484">
                <a:moveTo>
                  <a:pt x="238633" y="60705"/>
                </a:moveTo>
                <a:lnTo>
                  <a:pt x="230974" y="60705"/>
                </a:lnTo>
                <a:lnTo>
                  <a:pt x="231965" y="68656"/>
                </a:lnTo>
                <a:lnTo>
                  <a:pt x="238633" y="68656"/>
                </a:lnTo>
                <a:lnTo>
                  <a:pt x="238633" y="60705"/>
                </a:lnTo>
                <a:close/>
              </a:path>
              <a:path w="720725" h="70484">
                <a:moveTo>
                  <a:pt x="238633" y="45275"/>
                </a:moveTo>
                <a:lnTo>
                  <a:pt x="230174" y="45275"/>
                </a:lnTo>
                <a:lnTo>
                  <a:pt x="230174" y="55029"/>
                </a:lnTo>
                <a:lnTo>
                  <a:pt x="227457" y="57416"/>
                </a:lnTo>
                <a:lnTo>
                  <a:pt x="224497" y="59245"/>
                </a:lnTo>
                <a:lnTo>
                  <a:pt x="218122" y="61760"/>
                </a:lnTo>
                <a:lnTo>
                  <a:pt x="215239" y="62356"/>
                </a:lnTo>
                <a:lnTo>
                  <a:pt x="229367" y="62356"/>
                </a:lnTo>
                <a:lnTo>
                  <a:pt x="230974" y="60705"/>
                </a:lnTo>
                <a:lnTo>
                  <a:pt x="238633" y="60705"/>
                </a:lnTo>
                <a:lnTo>
                  <a:pt x="238633" y="45275"/>
                </a:lnTo>
                <a:close/>
              </a:path>
              <a:path w="720725" h="70484">
                <a:moveTo>
                  <a:pt x="227749" y="19011"/>
                </a:moveTo>
                <a:lnTo>
                  <a:pt x="215480" y="19011"/>
                </a:lnTo>
                <a:lnTo>
                  <a:pt x="207645" y="19735"/>
                </a:lnTo>
                <a:lnTo>
                  <a:pt x="198628" y="21196"/>
                </a:lnTo>
                <a:lnTo>
                  <a:pt x="199428" y="27470"/>
                </a:lnTo>
                <a:lnTo>
                  <a:pt x="208648" y="26606"/>
                </a:lnTo>
                <a:lnTo>
                  <a:pt x="215607" y="26174"/>
                </a:lnTo>
                <a:lnTo>
                  <a:pt x="237718" y="26174"/>
                </a:lnTo>
                <a:lnTo>
                  <a:pt x="237286" y="24891"/>
                </a:lnTo>
                <a:lnTo>
                  <a:pt x="231914" y="20180"/>
                </a:lnTo>
                <a:lnTo>
                  <a:pt x="227749" y="19011"/>
                </a:lnTo>
                <a:close/>
              </a:path>
              <a:path w="720725" h="70484">
                <a:moveTo>
                  <a:pt x="139382" y="20205"/>
                </a:moveTo>
                <a:lnTo>
                  <a:pt x="126784" y="20205"/>
                </a:lnTo>
                <a:lnTo>
                  <a:pt x="125691" y="21259"/>
                </a:lnTo>
                <a:lnTo>
                  <a:pt x="125691" y="23380"/>
                </a:lnTo>
                <a:lnTo>
                  <a:pt x="123698" y="68656"/>
                </a:lnTo>
                <a:lnTo>
                  <a:pt x="131457" y="68656"/>
                </a:lnTo>
                <a:lnTo>
                  <a:pt x="133248" y="26669"/>
                </a:lnTo>
                <a:lnTo>
                  <a:pt x="142336" y="26669"/>
                </a:lnTo>
                <a:lnTo>
                  <a:pt x="141008" y="22986"/>
                </a:lnTo>
                <a:lnTo>
                  <a:pt x="140487" y="21132"/>
                </a:lnTo>
                <a:lnTo>
                  <a:pt x="139382" y="20205"/>
                </a:lnTo>
                <a:close/>
              </a:path>
              <a:path w="720725" h="70484">
                <a:moveTo>
                  <a:pt x="182460" y="26669"/>
                </a:moveTo>
                <a:lnTo>
                  <a:pt x="174650" y="26669"/>
                </a:lnTo>
                <a:lnTo>
                  <a:pt x="176542" y="68656"/>
                </a:lnTo>
                <a:lnTo>
                  <a:pt x="184404" y="68656"/>
                </a:lnTo>
                <a:lnTo>
                  <a:pt x="182460" y="26669"/>
                </a:lnTo>
                <a:close/>
              </a:path>
              <a:path w="720725" h="70484">
                <a:moveTo>
                  <a:pt x="142336" y="26669"/>
                </a:moveTo>
                <a:lnTo>
                  <a:pt x="134937" y="26669"/>
                </a:lnTo>
                <a:lnTo>
                  <a:pt x="147281" y="60604"/>
                </a:lnTo>
                <a:lnTo>
                  <a:pt x="147878" y="62458"/>
                </a:lnTo>
                <a:lnTo>
                  <a:pt x="149009" y="63385"/>
                </a:lnTo>
                <a:lnTo>
                  <a:pt x="158889" y="63385"/>
                </a:lnTo>
                <a:lnTo>
                  <a:pt x="160020" y="62458"/>
                </a:lnTo>
                <a:lnTo>
                  <a:pt x="160616" y="60604"/>
                </a:lnTo>
                <a:lnTo>
                  <a:pt x="161632" y="57810"/>
                </a:lnTo>
                <a:lnTo>
                  <a:pt x="153149" y="57810"/>
                </a:lnTo>
                <a:lnTo>
                  <a:pt x="152425" y="55029"/>
                </a:lnTo>
                <a:lnTo>
                  <a:pt x="151726" y="52704"/>
                </a:lnTo>
                <a:lnTo>
                  <a:pt x="142336" y="26669"/>
                </a:lnTo>
                <a:close/>
              </a:path>
              <a:path w="720725" h="70484">
                <a:moveTo>
                  <a:pt x="181241" y="20205"/>
                </a:moveTo>
                <a:lnTo>
                  <a:pt x="168605" y="20205"/>
                </a:lnTo>
                <a:lnTo>
                  <a:pt x="167487" y="21132"/>
                </a:lnTo>
                <a:lnTo>
                  <a:pt x="166878" y="22986"/>
                </a:lnTo>
                <a:lnTo>
                  <a:pt x="156832" y="50850"/>
                </a:lnTo>
                <a:lnTo>
                  <a:pt x="156375" y="52247"/>
                </a:lnTo>
                <a:lnTo>
                  <a:pt x="155663" y="54559"/>
                </a:lnTo>
                <a:lnTo>
                  <a:pt x="154749" y="57810"/>
                </a:lnTo>
                <a:lnTo>
                  <a:pt x="161632" y="57810"/>
                </a:lnTo>
                <a:lnTo>
                  <a:pt x="172948" y="26669"/>
                </a:lnTo>
                <a:lnTo>
                  <a:pt x="182460" y="26669"/>
                </a:lnTo>
                <a:lnTo>
                  <a:pt x="182308" y="23380"/>
                </a:lnTo>
                <a:lnTo>
                  <a:pt x="182308" y="21259"/>
                </a:lnTo>
                <a:lnTo>
                  <a:pt x="181241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89" y="20205"/>
                </a:lnTo>
                <a:lnTo>
                  <a:pt x="81305" y="21132"/>
                </a:lnTo>
                <a:lnTo>
                  <a:pt x="77317" y="24841"/>
                </a:lnTo>
                <a:lnTo>
                  <a:pt x="76098" y="27698"/>
                </a:lnTo>
                <a:lnTo>
                  <a:pt x="75628" y="31546"/>
                </a:lnTo>
                <a:lnTo>
                  <a:pt x="74371" y="43751"/>
                </a:lnTo>
                <a:lnTo>
                  <a:pt x="72948" y="51879"/>
                </a:lnTo>
                <a:lnTo>
                  <a:pt x="62788" y="62699"/>
                </a:lnTo>
                <a:lnTo>
                  <a:pt x="63690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21" y="27317"/>
                </a:lnTo>
                <a:lnTo>
                  <a:pt x="87807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96" y="0"/>
                </a:lnTo>
                <a:lnTo>
                  <a:pt x="22491" y="800"/>
                </a:lnTo>
                <a:lnTo>
                  <a:pt x="22098" y="2387"/>
                </a:lnTo>
                <a:lnTo>
                  <a:pt x="0" y="68656"/>
                </a:lnTo>
                <a:lnTo>
                  <a:pt x="9055" y="68656"/>
                </a:lnTo>
                <a:lnTo>
                  <a:pt x="15824" y="47167"/>
                </a:lnTo>
                <a:lnTo>
                  <a:pt x="52744" y="47167"/>
                </a:lnTo>
                <a:lnTo>
                  <a:pt x="50226" y="39611"/>
                </a:lnTo>
                <a:lnTo>
                  <a:pt x="18211" y="39611"/>
                </a:lnTo>
                <a:lnTo>
                  <a:pt x="26873" y="12344"/>
                </a:lnTo>
                <a:lnTo>
                  <a:pt x="28562" y="6769"/>
                </a:lnTo>
                <a:lnTo>
                  <a:pt x="39280" y="6769"/>
                </a:lnTo>
                <a:lnTo>
                  <a:pt x="37820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44" y="47167"/>
                </a:moveTo>
                <a:lnTo>
                  <a:pt x="44081" y="47167"/>
                </a:lnTo>
                <a:lnTo>
                  <a:pt x="50850" y="68656"/>
                </a:lnTo>
                <a:lnTo>
                  <a:pt x="59905" y="68656"/>
                </a:lnTo>
                <a:lnTo>
                  <a:pt x="52744" y="47167"/>
                </a:lnTo>
                <a:close/>
              </a:path>
              <a:path w="720725" h="70484">
                <a:moveTo>
                  <a:pt x="39280" y="6769"/>
                </a:moveTo>
                <a:lnTo>
                  <a:pt x="31343" y="6769"/>
                </a:lnTo>
                <a:lnTo>
                  <a:pt x="31877" y="8762"/>
                </a:lnTo>
                <a:lnTo>
                  <a:pt x="32448" y="10617"/>
                </a:lnTo>
                <a:lnTo>
                  <a:pt x="33045" y="12344"/>
                </a:lnTo>
                <a:lnTo>
                  <a:pt x="41694" y="39611"/>
                </a:lnTo>
                <a:lnTo>
                  <a:pt x="50226" y="39611"/>
                </a:lnTo>
                <a:lnTo>
                  <a:pt x="39280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8" name="object 25">
            <a:extLst>
              <a:ext uri="{FF2B5EF4-FFF2-40B4-BE49-F238E27FC236}">
                <a16:creationId xmlns:a16="http://schemas.microsoft.com/office/drawing/2014/main" id="{E2DAF781-8AF5-4C12-85C9-C8AFF56C25A4}"/>
              </a:ext>
            </a:extLst>
          </p:cNvPr>
          <p:cNvSpPr/>
          <p:nvPr/>
        </p:nvSpPr>
        <p:spPr>
          <a:xfrm>
            <a:off x="775530" y="5906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01" y="20802"/>
                </a:lnTo>
                <a:lnTo>
                  <a:pt x="507301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2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5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62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5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49" y="51193"/>
                </a:lnTo>
                <a:lnTo>
                  <a:pt x="537349" y="57950"/>
                </a:lnTo>
                <a:lnTo>
                  <a:pt x="536600" y="60286"/>
                </a:lnTo>
                <a:lnTo>
                  <a:pt x="533615" y="62611"/>
                </a:lnTo>
                <a:lnTo>
                  <a:pt x="530910" y="63195"/>
                </a:lnTo>
                <a:lnTo>
                  <a:pt x="545012" y="63195"/>
                </a:lnTo>
                <a:lnTo>
                  <a:pt x="545909" y="60502"/>
                </a:lnTo>
                <a:lnTo>
                  <a:pt x="545878" y="48945"/>
                </a:lnTo>
                <a:lnTo>
                  <a:pt x="544825" y="45885"/>
                </a:lnTo>
                <a:close/>
              </a:path>
              <a:path w="563880" h="89534">
                <a:moveTo>
                  <a:pt x="563321" y="20802"/>
                </a:moveTo>
                <a:lnTo>
                  <a:pt x="554761" y="20802"/>
                </a:lnTo>
                <a:lnTo>
                  <a:pt x="554761" y="69265"/>
                </a:lnTo>
                <a:lnTo>
                  <a:pt x="563321" y="69265"/>
                </a:lnTo>
                <a:lnTo>
                  <a:pt x="563321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74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42" y="69634"/>
                </a:lnTo>
                <a:lnTo>
                  <a:pt x="495553" y="67970"/>
                </a:lnTo>
                <a:lnTo>
                  <a:pt x="494904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51" y="33235"/>
                </a:lnTo>
                <a:lnTo>
                  <a:pt x="470623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4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1995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289" y="68973"/>
                </a:lnTo>
                <a:lnTo>
                  <a:pt x="410806" y="70154"/>
                </a:lnTo>
                <a:lnTo>
                  <a:pt x="419290" y="70154"/>
                </a:lnTo>
                <a:lnTo>
                  <a:pt x="423087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45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47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1995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45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77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28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07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1995" y="26771"/>
                </a:lnTo>
                <a:lnTo>
                  <a:pt x="441566" y="25501"/>
                </a:lnTo>
                <a:lnTo>
                  <a:pt x="436194" y="20777"/>
                </a:lnTo>
                <a:lnTo>
                  <a:pt x="432028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63" y="20802"/>
                </a:lnTo>
                <a:lnTo>
                  <a:pt x="329971" y="21856"/>
                </a:lnTo>
                <a:lnTo>
                  <a:pt x="329971" y="23977"/>
                </a:lnTo>
                <a:lnTo>
                  <a:pt x="327977" y="69265"/>
                </a:lnTo>
                <a:lnTo>
                  <a:pt x="335737" y="69265"/>
                </a:lnTo>
                <a:lnTo>
                  <a:pt x="337527" y="27266"/>
                </a:lnTo>
                <a:lnTo>
                  <a:pt x="346627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40" y="27266"/>
                </a:moveTo>
                <a:lnTo>
                  <a:pt x="378929" y="27266"/>
                </a:lnTo>
                <a:lnTo>
                  <a:pt x="380822" y="69265"/>
                </a:lnTo>
                <a:lnTo>
                  <a:pt x="388683" y="69265"/>
                </a:lnTo>
                <a:lnTo>
                  <a:pt x="386740" y="27266"/>
                </a:lnTo>
                <a:close/>
              </a:path>
              <a:path w="563880" h="89534">
                <a:moveTo>
                  <a:pt x="346627" y="27266"/>
                </a:moveTo>
                <a:lnTo>
                  <a:pt x="339229" y="27266"/>
                </a:lnTo>
                <a:lnTo>
                  <a:pt x="351561" y="61201"/>
                </a:lnTo>
                <a:lnTo>
                  <a:pt x="352158" y="63068"/>
                </a:lnTo>
                <a:lnTo>
                  <a:pt x="353288" y="63982"/>
                </a:lnTo>
                <a:lnTo>
                  <a:pt x="363169" y="63982"/>
                </a:lnTo>
                <a:lnTo>
                  <a:pt x="364299" y="63068"/>
                </a:lnTo>
                <a:lnTo>
                  <a:pt x="364896" y="61201"/>
                </a:lnTo>
                <a:lnTo>
                  <a:pt x="365908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46627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11" y="51447"/>
                </a:lnTo>
                <a:lnTo>
                  <a:pt x="360654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08" y="58420"/>
                </a:lnTo>
                <a:lnTo>
                  <a:pt x="377240" y="27266"/>
                </a:lnTo>
                <a:lnTo>
                  <a:pt x="386740" y="27266"/>
                </a:lnTo>
                <a:lnTo>
                  <a:pt x="386588" y="23977"/>
                </a:lnTo>
                <a:lnTo>
                  <a:pt x="386461" y="21729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22" y="65481"/>
                </a:lnTo>
                <a:lnTo>
                  <a:pt x="310492" y="65481"/>
                </a:lnTo>
                <a:lnTo>
                  <a:pt x="312319" y="63093"/>
                </a:lnTo>
                <a:lnTo>
                  <a:pt x="291363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54" y="29464"/>
                </a:lnTo>
                <a:lnTo>
                  <a:pt x="288060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492" y="65481"/>
                </a:moveTo>
                <a:lnTo>
                  <a:pt x="279222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40" y="68554"/>
                </a:lnTo>
                <a:lnTo>
                  <a:pt x="310492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85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19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58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0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58" y="19608"/>
                </a:lnTo>
                <a:close/>
              </a:path>
              <a:path w="563880" h="89534">
                <a:moveTo>
                  <a:pt x="254619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78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30" y="39408"/>
                </a:lnTo>
                <a:lnTo>
                  <a:pt x="219329" y="40449"/>
                </a:lnTo>
                <a:lnTo>
                  <a:pt x="214617" y="44627"/>
                </a:lnTo>
                <a:lnTo>
                  <a:pt x="213436" y="47574"/>
                </a:lnTo>
                <a:lnTo>
                  <a:pt x="213436" y="60934"/>
                </a:lnTo>
                <a:lnTo>
                  <a:pt x="214731" y="64274"/>
                </a:lnTo>
                <a:lnTo>
                  <a:pt x="219913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46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71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19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52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31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11" y="26771"/>
                </a:lnTo>
                <a:lnTo>
                  <a:pt x="254619" y="26771"/>
                </a:lnTo>
                <a:lnTo>
                  <a:pt x="254190" y="25501"/>
                </a:lnTo>
                <a:lnTo>
                  <a:pt x="248818" y="20777"/>
                </a:lnTo>
                <a:lnTo>
                  <a:pt x="244652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51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1" y="40805"/>
                </a:lnTo>
                <a:lnTo>
                  <a:pt x="170649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29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390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43" y="40805"/>
                </a:lnTo>
                <a:lnTo>
                  <a:pt x="192781" y="40805"/>
                </a:lnTo>
                <a:lnTo>
                  <a:pt x="195567" y="38087"/>
                </a:lnTo>
                <a:lnTo>
                  <a:pt x="196164" y="37185"/>
                </a:lnTo>
                <a:lnTo>
                  <a:pt x="198018" y="33693"/>
                </a:lnTo>
                <a:lnTo>
                  <a:pt x="198818" y="32296"/>
                </a:lnTo>
                <a:lnTo>
                  <a:pt x="199364" y="31076"/>
                </a:lnTo>
                <a:lnTo>
                  <a:pt x="202018" y="24536"/>
                </a:lnTo>
                <a:lnTo>
                  <a:pt x="202603" y="22987"/>
                </a:lnTo>
                <a:lnTo>
                  <a:pt x="203390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40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78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78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58" y="27368"/>
                </a:lnTo>
                <a:lnTo>
                  <a:pt x="149078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52" y="29921"/>
                </a:lnTo>
                <a:lnTo>
                  <a:pt x="89789" y="32080"/>
                </a:lnTo>
                <a:lnTo>
                  <a:pt x="89852" y="39408"/>
                </a:lnTo>
                <a:lnTo>
                  <a:pt x="65404" y="39408"/>
                </a:lnTo>
                <a:lnTo>
                  <a:pt x="62103" y="40449"/>
                </a:lnTo>
                <a:lnTo>
                  <a:pt x="57391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20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39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34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05" y="28067"/>
                </a:lnTo>
                <a:lnTo>
                  <a:pt x="68325" y="27203"/>
                </a:lnTo>
                <a:lnTo>
                  <a:pt x="75285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190" y="69265"/>
                </a:lnTo>
                <a:lnTo>
                  <a:pt x="6756" y="69862"/>
                </a:lnTo>
                <a:lnTo>
                  <a:pt x="13957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64" y="62560"/>
                </a:lnTo>
                <a:lnTo>
                  <a:pt x="8750" y="62496"/>
                </a:lnTo>
                <a:lnTo>
                  <a:pt x="8750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50" y="30149"/>
                </a:lnTo>
                <a:lnTo>
                  <a:pt x="8750" y="7861"/>
                </a:lnTo>
                <a:lnTo>
                  <a:pt x="41389" y="7861"/>
                </a:lnTo>
                <a:lnTo>
                  <a:pt x="42189" y="596"/>
                </a:lnTo>
                <a:lnTo>
                  <a:pt x="35217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48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48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9" name="object 26">
            <a:extLst>
              <a:ext uri="{FF2B5EF4-FFF2-40B4-BE49-F238E27FC236}">
                <a16:creationId xmlns:a16="http://schemas.microsoft.com/office/drawing/2014/main" id="{BDADECF5-C2D4-44D7-BC7B-84EDC23B1E16}"/>
              </a:ext>
            </a:extLst>
          </p:cNvPr>
          <p:cNvSpPr/>
          <p:nvPr/>
        </p:nvSpPr>
        <p:spPr>
          <a:xfrm>
            <a:off x="774201" y="425570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40" y="103365"/>
                </a:lnTo>
                <a:lnTo>
                  <a:pt x="984491" y="105181"/>
                </a:lnTo>
                <a:lnTo>
                  <a:pt x="992504" y="105181"/>
                </a:lnTo>
                <a:lnTo>
                  <a:pt x="990206" y="110883"/>
                </a:lnTo>
                <a:lnTo>
                  <a:pt x="987094" y="114896"/>
                </a:lnTo>
                <a:lnTo>
                  <a:pt x="983195" y="117195"/>
                </a:lnTo>
                <a:lnTo>
                  <a:pt x="979385" y="119494"/>
                </a:lnTo>
                <a:lnTo>
                  <a:pt x="972921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34" y="127550"/>
                </a:lnTo>
                <a:lnTo>
                  <a:pt x="1004639" y="121813"/>
                </a:lnTo>
                <a:lnTo>
                  <a:pt x="1005480" y="120497"/>
                </a:lnTo>
                <a:lnTo>
                  <a:pt x="972921" y="120497"/>
                </a:lnTo>
                <a:lnTo>
                  <a:pt x="963815" y="120205"/>
                </a:lnTo>
                <a:lnTo>
                  <a:pt x="1005666" y="120205"/>
                </a:lnTo>
                <a:lnTo>
                  <a:pt x="1009178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08" y="90144"/>
                </a:lnTo>
                <a:lnTo>
                  <a:pt x="996315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22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48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699" y="133718"/>
                </a:lnTo>
                <a:lnTo>
                  <a:pt x="897680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699" y="87591"/>
                </a:lnTo>
                <a:lnTo>
                  <a:pt x="897699" y="53644"/>
                </a:lnTo>
                <a:lnTo>
                  <a:pt x="904913" y="48933"/>
                </a:lnTo>
                <a:lnTo>
                  <a:pt x="911021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48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2" y="103068"/>
                </a:lnTo>
                <a:lnTo>
                  <a:pt x="908330" y="105322"/>
                </a:lnTo>
                <a:lnTo>
                  <a:pt x="914858" y="106674"/>
                </a:lnTo>
                <a:lnTo>
                  <a:pt x="922045" y="107124"/>
                </a:lnTo>
                <a:lnTo>
                  <a:pt x="931760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599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80" y="105181"/>
                </a:lnTo>
                <a:lnTo>
                  <a:pt x="766208" y="105572"/>
                </a:lnTo>
                <a:lnTo>
                  <a:pt x="774509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51" y="106070"/>
                </a:lnTo>
                <a:lnTo>
                  <a:pt x="813473" y="104305"/>
                </a:lnTo>
                <a:lnTo>
                  <a:pt x="822680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6" y="70777"/>
                </a:lnTo>
                <a:lnTo>
                  <a:pt x="822579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6" y="70777"/>
                </a:moveTo>
                <a:lnTo>
                  <a:pt x="795642" y="70777"/>
                </a:lnTo>
                <a:lnTo>
                  <a:pt x="798715" y="71424"/>
                </a:lnTo>
                <a:lnTo>
                  <a:pt x="801827" y="74028"/>
                </a:lnTo>
                <a:lnTo>
                  <a:pt x="802601" y="76631"/>
                </a:lnTo>
                <a:lnTo>
                  <a:pt x="802601" y="84645"/>
                </a:lnTo>
                <a:lnTo>
                  <a:pt x="801827" y="87325"/>
                </a:lnTo>
                <a:lnTo>
                  <a:pt x="798715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6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38" y="126352"/>
                </a:lnTo>
                <a:lnTo>
                  <a:pt x="673836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79" y="70734"/>
                </a:lnTo>
                <a:lnTo>
                  <a:pt x="670132" y="80381"/>
                </a:lnTo>
                <a:lnTo>
                  <a:pt x="667080" y="89255"/>
                </a:lnTo>
                <a:lnTo>
                  <a:pt x="686612" y="89255"/>
                </a:lnTo>
                <a:lnTo>
                  <a:pt x="696277" y="48488"/>
                </a:lnTo>
                <a:lnTo>
                  <a:pt x="698779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28" y="31102"/>
                </a:lnTo>
                <a:lnTo>
                  <a:pt x="573328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22" y="106984"/>
                </a:lnTo>
                <a:lnTo>
                  <a:pt x="515684" y="106166"/>
                </a:lnTo>
                <a:lnTo>
                  <a:pt x="522889" y="103711"/>
                </a:lnTo>
                <a:lnTo>
                  <a:pt x="529433" y="99623"/>
                </a:lnTo>
                <a:lnTo>
                  <a:pt x="535317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17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02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56" y="28994"/>
                </a:lnTo>
                <a:lnTo>
                  <a:pt x="516521" y="29220"/>
                </a:lnTo>
                <a:lnTo>
                  <a:pt x="506998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43" y="47637"/>
                </a:lnTo>
                <a:lnTo>
                  <a:pt x="498564" y="47104"/>
                </a:lnTo>
                <a:lnTo>
                  <a:pt x="506814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67" y="39141"/>
                </a:lnTo>
                <a:lnTo>
                  <a:pt x="543255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0" y="82222"/>
                </a:lnTo>
                <a:lnTo>
                  <a:pt x="428942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51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39" y="133718"/>
                </a:lnTo>
                <a:lnTo>
                  <a:pt x="331139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27" y="99910"/>
                </a:lnTo>
                <a:lnTo>
                  <a:pt x="376961" y="98640"/>
                </a:lnTo>
                <a:lnTo>
                  <a:pt x="379985" y="93590"/>
                </a:lnTo>
                <a:lnTo>
                  <a:pt x="380955" y="90601"/>
                </a:lnTo>
                <a:lnTo>
                  <a:pt x="344563" y="90601"/>
                </a:lnTo>
                <a:lnTo>
                  <a:pt x="338950" y="89598"/>
                </a:lnTo>
                <a:lnTo>
                  <a:pt x="331139" y="87591"/>
                </a:lnTo>
                <a:lnTo>
                  <a:pt x="331139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66" y="46583"/>
                </a:lnTo>
                <a:lnTo>
                  <a:pt x="378555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27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51" y="104305"/>
                </a:lnTo>
                <a:lnTo>
                  <a:pt x="375927" y="99910"/>
                </a:lnTo>
                <a:close/>
              </a:path>
              <a:path w="1039494" h="136525">
                <a:moveTo>
                  <a:pt x="380366" y="46583"/>
                </a:moveTo>
                <a:lnTo>
                  <a:pt x="353771" y="46583"/>
                </a:lnTo>
                <a:lnTo>
                  <a:pt x="356781" y="48107"/>
                </a:lnTo>
                <a:lnTo>
                  <a:pt x="360184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08" y="83591"/>
                </a:lnTo>
                <a:lnTo>
                  <a:pt x="356400" y="89204"/>
                </a:lnTo>
                <a:lnTo>
                  <a:pt x="352971" y="90601"/>
                </a:lnTo>
                <a:lnTo>
                  <a:pt x="380955" y="90601"/>
                </a:lnTo>
                <a:lnTo>
                  <a:pt x="382144" y="86936"/>
                </a:lnTo>
                <a:lnTo>
                  <a:pt x="383438" y="78679"/>
                </a:lnTo>
                <a:lnTo>
                  <a:pt x="383870" y="68821"/>
                </a:lnTo>
                <a:lnTo>
                  <a:pt x="382265" y="51469"/>
                </a:lnTo>
                <a:lnTo>
                  <a:pt x="380366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40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55" y="41922"/>
                </a:lnTo>
                <a:lnTo>
                  <a:pt x="377448" y="39074"/>
                </a:lnTo>
                <a:lnTo>
                  <a:pt x="369420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14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14" y="133718"/>
                </a:lnTo>
                <a:lnTo>
                  <a:pt x="253314" y="106680"/>
                </a:lnTo>
                <a:lnTo>
                  <a:pt x="263358" y="105467"/>
                </a:lnTo>
                <a:lnTo>
                  <a:pt x="288514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06" y="45377"/>
                </a:lnTo>
                <a:lnTo>
                  <a:pt x="288229" y="44980"/>
                </a:lnTo>
                <a:lnTo>
                  <a:pt x="253314" y="29298"/>
                </a:lnTo>
                <a:lnTo>
                  <a:pt x="253314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06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14" y="54686"/>
                </a:lnTo>
                <a:lnTo>
                  <a:pt x="272237" y="60299"/>
                </a:lnTo>
                <a:lnTo>
                  <a:pt x="272237" y="76034"/>
                </a:lnTo>
                <a:lnTo>
                  <a:pt x="270814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14" y="90601"/>
                </a:lnTo>
                <a:lnTo>
                  <a:pt x="291114" y="84855"/>
                </a:lnTo>
                <a:lnTo>
                  <a:pt x="292844" y="77182"/>
                </a:lnTo>
                <a:lnTo>
                  <a:pt x="293420" y="68211"/>
                </a:lnTo>
                <a:lnTo>
                  <a:pt x="292844" y="59172"/>
                </a:lnTo>
                <a:lnTo>
                  <a:pt x="291114" y="51428"/>
                </a:lnTo>
                <a:lnTo>
                  <a:pt x="288406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25" y="31102"/>
                </a:lnTo>
                <a:lnTo>
                  <a:pt x="105625" y="105181"/>
                </a:lnTo>
                <a:lnTo>
                  <a:pt x="124548" y="105181"/>
                </a:lnTo>
                <a:lnTo>
                  <a:pt x="141237" y="81584"/>
                </a:lnTo>
                <a:lnTo>
                  <a:pt x="124548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37" y="81584"/>
                </a:lnTo>
                <a:lnTo>
                  <a:pt x="152501" y="65659"/>
                </a:lnTo>
                <a:lnTo>
                  <a:pt x="155105" y="61950"/>
                </a:lnTo>
                <a:lnTo>
                  <a:pt x="156959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391" y="1498"/>
                </a:lnTo>
                <a:lnTo>
                  <a:pt x="57391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0" name="object 27">
            <a:extLst>
              <a:ext uri="{FF2B5EF4-FFF2-40B4-BE49-F238E27FC236}">
                <a16:creationId xmlns:a16="http://schemas.microsoft.com/office/drawing/2014/main" id="{C972B37D-7021-4C93-9F8C-48D0E4FF64A4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1" name="object 28">
            <a:extLst>
              <a:ext uri="{FF2B5EF4-FFF2-40B4-BE49-F238E27FC236}">
                <a16:creationId xmlns:a16="http://schemas.microsoft.com/office/drawing/2014/main" id="{72E8A03A-4069-4EA0-A05C-F61D9A0A3277}"/>
              </a:ext>
            </a:extLst>
          </p:cNvPr>
          <p:cNvSpPr txBox="1"/>
          <p:nvPr/>
        </p:nvSpPr>
        <p:spPr>
          <a:xfrm>
            <a:off x="267372" y="6491936"/>
            <a:ext cx="119130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Almaty</a:t>
            </a:r>
            <a:r>
              <a:rPr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02</a:t>
            </a:r>
            <a:r>
              <a:rPr lang="ru-RU"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12" name="object 29">
            <a:extLst>
              <a:ext uri="{FF2B5EF4-FFF2-40B4-BE49-F238E27FC236}">
                <a16:creationId xmlns:a16="http://schemas.microsoft.com/office/drawing/2014/main" id="{EA9033DA-0952-433B-A733-EBAE06D86389}"/>
              </a:ext>
            </a:extLst>
          </p:cNvPr>
          <p:cNvSpPr txBox="1"/>
          <p:nvPr/>
        </p:nvSpPr>
        <p:spPr>
          <a:xfrm>
            <a:off x="267372" y="6247866"/>
            <a:ext cx="93368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Qazaqstan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13" name="object 23">
            <a:extLst>
              <a:ext uri="{FF2B5EF4-FFF2-40B4-BE49-F238E27FC236}">
                <a16:creationId xmlns:a16="http://schemas.microsoft.com/office/drawing/2014/main" id="{08F94D9A-92D6-4FD5-868D-A37CC81249BE}"/>
              </a:ext>
            </a:extLst>
          </p:cNvPr>
          <p:cNvSpPr/>
          <p:nvPr/>
        </p:nvSpPr>
        <p:spPr>
          <a:xfrm>
            <a:off x="191344" y="188640"/>
            <a:ext cx="409359" cy="500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DBE8507-9A93-455C-91CF-589073C1F02D}"/>
              </a:ext>
            </a:extLst>
          </p:cNvPr>
          <p:cNvSpPr/>
          <p:nvPr/>
        </p:nvSpPr>
        <p:spPr>
          <a:xfrm>
            <a:off x="4551560" y="198481"/>
            <a:ext cx="661943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Century Gothic" panose="020B0502020202020204" pitchFamily="34" charset="0"/>
              </a:rPr>
              <a:t>Алматы </a:t>
            </a:r>
            <a:r>
              <a:rPr lang="ru-RU" sz="2000" b="1" dirty="0" err="1">
                <a:latin typeface="Century Gothic" panose="020B0502020202020204" pitchFamily="34" charset="0"/>
              </a:rPr>
              <a:t>қаласы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жол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трафигін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талдау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және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қауіпсіздіктің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интеллектуалды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жүйесін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кеңейту</a:t>
            </a:r>
            <a:r>
              <a:rPr lang="ru-RU" sz="2000" b="1" dirty="0">
                <a:latin typeface="Century Gothic" panose="020B0502020202020204" pitchFamily="34" charset="0"/>
              </a:rPr>
              <a:t> «</a:t>
            </a:r>
            <a:r>
              <a:rPr lang="ru-RU" sz="2000" b="1" dirty="0" err="1">
                <a:latin typeface="Century Gothic" panose="020B0502020202020204" pitchFamily="34" charset="0"/>
              </a:rPr>
              <a:t>Сергек</a:t>
            </a:r>
            <a:r>
              <a:rPr lang="ru-RU" sz="2000" b="1" dirty="0">
                <a:latin typeface="Century Gothic" panose="020B0502020202020204" pitchFamily="34" charset="0"/>
              </a:rPr>
              <a:t>»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id="{7E85E4E1-8AA6-45C3-956B-5B23287D7632}"/>
              </a:ext>
            </a:extLst>
          </p:cNvPr>
          <p:cNvSpPr/>
          <p:nvPr/>
        </p:nvSpPr>
        <p:spPr>
          <a:xfrm>
            <a:off x="706272" y="5670288"/>
            <a:ext cx="3408528" cy="81395"/>
          </a:xfrm>
          <a:custGeom>
            <a:avLst/>
            <a:gdLst/>
            <a:ahLst/>
            <a:cxnLst/>
            <a:rect l="l" t="t" r="r" b="b"/>
            <a:pathLst>
              <a:path w="5373370">
                <a:moveTo>
                  <a:pt x="0" y="0"/>
                </a:moveTo>
                <a:lnTo>
                  <a:pt x="5373116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7" name="object 13">
            <a:extLst>
              <a:ext uri="{FF2B5EF4-FFF2-40B4-BE49-F238E27FC236}">
                <a16:creationId xmlns:a16="http://schemas.microsoft.com/office/drawing/2014/main" id="{AE2FCC71-B791-43A0-9194-A409B5CCC5F6}"/>
              </a:ext>
            </a:extLst>
          </p:cNvPr>
          <p:cNvSpPr/>
          <p:nvPr/>
        </p:nvSpPr>
        <p:spPr>
          <a:xfrm>
            <a:off x="7867395" y="5659445"/>
            <a:ext cx="4001550" cy="69641"/>
          </a:xfrm>
          <a:custGeom>
            <a:avLst/>
            <a:gdLst/>
            <a:ahLst/>
            <a:cxnLst/>
            <a:rect l="l" t="t" r="r" b="b"/>
            <a:pathLst>
              <a:path w="5375275">
                <a:moveTo>
                  <a:pt x="0" y="0"/>
                </a:moveTo>
                <a:lnTo>
                  <a:pt x="5374893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8" name="object 16">
            <a:extLst>
              <a:ext uri="{FF2B5EF4-FFF2-40B4-BE49-F238E27FC236}">
                <a16:creationId xmlns:a16="http://schemas.microsoft.com/office/drawing/2014/main" id="{38B79EE4-2787-4A25-89D6-5B32BF1BF459}"/>
              </a:ext>
            </a:extLst>
          </p:cNvPr>
          <p:cNvSpPr txBox="1"/>
          <p:nvPr/>
        </p:nvSpPr>
        <p:spPr>
          <a:xfrm>
            <a:off x="1631504" y="5531596"/>
            <a:ext cx="8706451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202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жылдың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тоқсанына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арналған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міндеттер</a:t>
            </a:r>
            <a:endParaRPr sz="1200" dirty="0">
              <a:solidFill>
                <a:srgbClr val="116EC3"/>
              </a:solidFill>
              <a:latin typeface="Century Gothic" panose="020B0502020202020204" pitchFamily="34" charset="0"/>
              <a:cs typeface="Myanmar Text" panose="020B0502040204020203" pitchFamily="34" charset="0"/>
            </a:endParaRPr>
          </a:p>
        </p:txBody>
      </p:sp>
      <p:sp>
        <p:nvSpPr>
          <p:cNvPr id="19" name="Google Shape;617;p39">
            <a:extLst>
              <a:ext uri="{FF2B5EF4-FFF2-40B4-BE49-F238E27FC236}">
                <a16:creationId xmlns:a16="http://schemas.microsoft.com/office/drawing/2014/main" id="{B9774333-C0E5-4025-968E-B504EBEECC29}"/>
              </a:ext>
            </a:extLst>
          </p:cNvPr>
          <p:cNvSpPr/>
          <p:nvPr/>
        </p:nvSpPr>
        <p:spPr>
          <a:xfrm>
            <a:off x="4055360" y="5613739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617;p39">
            <a:extLst>
              <a:ext uri="{FF2B5EF4-FFF2-40B4-BE49-F238E27FC236}">
                <a16:creationId xmlns:a16="http://schemas.microsoft.com/office/drawing/2014/main" id="{3DC7DF90-F9D2-4219-8D2B-A698395F9EDE}"/>
              </a:ext>
            </a:extLst>
          </p:cNvPr>
          <p:cNvSpPr/>
          <p:nvPr/>
        </p:nvSpPr>
        <p:spPr>
          <a:xfrm>
            <a:off x="7793413" y="5607302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BE67EFA2-4E21-4DDB-ACA3-D09F9CB63EF2}"/>
              </a:ext>
            </a:extLst>
          </p:cNvPr>
          <p:cNvSpPr txBox="1"/>
          <p:nvPr/>
        </p:nvSpPr>
        <p:spPr>
          <a:xfrm>
            <a:off x="479440" y="1754228"/>
            <a:ext cx="6323574" cy="370338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766 «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ергек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»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кешен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ұмыс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істей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оның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ішінд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383 АӨК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елілік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учаскелерд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ән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383 АӨК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иылыстард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Алматы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br>
              <a:rPr lang="ru-RU" sz="1400" dirty="0">
                <a:latin typeface="Century Gothic" panose="020B0502020202020204" pitchFamily="34" charset="0"/>
                <a:cs typeface="Foundry Monoline OT3"/>
              </a:rPr>
            </a:b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8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аудан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алп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саны 5 034 камера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2021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ыл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«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ергек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»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үйесіме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алп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омас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18 147 508 764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еңгег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1 431 823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айыппұл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іркел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., 50%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еңілдік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есебіме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юджетк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иналд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7 817 119 839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г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. 2022 ж. (</a:t>
            </a:r>
            <a:r>
              <a:rPr lang="kk-KZ" sz="1400" dirty="0">
                <a:latin typeface="Century Gothic" panose="020B0502020202020204" pitchFamily="34" charset="0"/>
                <a:cs typeface="Foundry Monoline OT3"/>
              </a:rPr>
              <a:t>қаңтар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ақпа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наурыз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әуір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мамыр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) 150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мыңна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астам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айыппұл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іркел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, Алматы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аласының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юджетін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2 146 918 431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еңг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иналд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. 2021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ән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2022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ылдар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үші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юджетк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кірістің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иынтық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омас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(МЖӘ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шарт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шеңберінд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) 9 964 038 270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еңген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ұрад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138113" marR="3810" indent="-128588">
              <a:lnSpc>
                <a:spcPct val="113900"/>
              </a:lnSpc>
              <a:spcBef>
                <a:spcPts val="75"/>
              </a:spcBef>
              <a:buFont typeface="Wingdings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Алматы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аласынд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оры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алға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аппай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әртіпсіздіктер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арысынд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онаушылар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75 АӨК (304 камера),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ондай-ақ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РТРК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ғимаратындағ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орталық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айланыс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ораб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(антенна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ән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елілік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абдық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)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істе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шықт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.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Әлеуметтік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шеңберд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ек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серіктес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арлық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үлінге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кешендер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өз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есебіне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алпын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келтір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0DFA392E-AA04-4F2A-951D-C6C7D1050DED}"/>
              </a:ext>
            </a:extLst>
          </p:cNvPr>
          <p:cNvSpPr/>
          <p:nvPr/>
        </p:nvSpPr>
        <p:spPr>
          <a:xfrm>
            <a:off x="568987" y="1288015"/>
            <a:ext cx="635904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marR="3810" algn="ctr">
              <a:spcBef>
                <a:spcPts val="75"/>
              </a:spcBef>
            </a:pPr>
            <a:r>
              <a:rPr lang="ru-RU" b="1" spc="-15" dirty="0" err="1">
                <a:latin typeface="Century Gothic" panose="020B0502020202020204" pitchFamily="34" charset="0"/>
              </a:rPr>
              <a:t>Сергек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жобасы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бойынша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аяқталған</a:t>
            </a:r>
            <a:r>
              <a:rPr lang="ru-RU" b="1" spc="-15" dirty="0">
                <a:latin typeface="Century Gothic" panose="020B0502020202020204" pitchFamily="34" charset="0"/>
              </a:rPr>
              <a:t> </a:t>
            </a:r>
            <a:r>
              <a:rPr lang="ru-RU" b="1" spc="-15" dirty="0" err="1">
                <a:latin typeface="Century Gothic" panose="020B0502020202020204" pitchFamily="34" charset="0"/>
              </a:rPr>
              <a:t>жұмыстар</a:t>
            </a:r>
            <a:r>
              <a:rPr lang="ru-RU" b="1" spc="-15" dirty="0">
                <a:latin typeface="Century Gothic" panose="020B0502020202020204" pitchFamily="34" charset="0"/>
              </a:rPr>
              <a:t>: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1E01C4D4-FC8D-4102-A109-B11E0D64C0F0}"/>
              </a:ext>
            </a:extLst>
          </p:cNvPr>
          <p:cNvSpPr/>
          <p:nvPr/>
        </p:nvSpPr>
        <p:spPr>
          <a:xfrm>
            <a:off x="7965213" y="1290857"/>
            <a:ext cx="16435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>
                <a:latin typeface="Century Gothic" pitchFamily="34" charset="0"/>
              </a:rPr>
              <a:t>Жұмыста</a:t>
            </a:r>
            <a:endParaRPr lang="ru-RU" b="1" dirty="0">
              <a:latin typeface="Century Gothic" pitchFamily="34" charset="0"/>
            </a:endParaRPr>
          </a:p>
        </p:txBody>
      </p:sp>
      <p:sp>
        <p:nvSpPr>
          <p:cNvPr id="26" name="object 7">
            <a:extLst>
              <a:ext uri="{FF2B5EF4-FFF2-40B4-BE49-F238E27FC236}">
                <a16:creationId xmlns:a16="http://schemas.microsoft.com/office/drawing/2014/main" id="{9DD86199-B120-45A6-84DA-BA15CEA70A61}"/>
              </a:ext>
            </a:extLst>
          </p:cNvPr>
          <p:cNvSpPr txBox="1"/>
          <p:nvPr/>
        </p:nvSpPr>
        <p:spPr>
          <a:xfrm>
            <a:off x="7291688" y="1683321"/>
            <a:ext cx="4631647" cy="216405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</a:rPr>
              <a:t>Алматы </a:t>
            </a:r>
            <a:r>
              <a:rPr lang="ru-RU" sz="1400" dirty="0" err="1">
                <a:latin typeface="Century Gothic" panose="020B0502020202020204" pitchFamily="34" charset="0"/>
              </a:rPr>
              <a:t>қаласынд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Сергек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обасын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кеңейту</a:t>
            </a:r>
            <a:r>
              <a:rPr lang="ru-RU" sz="1400" dirty="0">
                <a:latin typeface="Century Gothic" panose="020B0502020202020204" pitchFamily="34" charset="0"/>
              </a:rPr>
              <a:t> (</a:t>
            </a:r>
            <a:r>
              <a:rPr lang="ru-RU" sz="1400" dirty="0" err="1">
                <a:latin typeface="Century Gothic" panose="020B0502020202020204" pitchFamily="34" charset="0"/>
              </a:rPr>
              <a:t>кешендерді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ұлғайту</a:t>
            </a:r>
            <a:r>
              <a:rPr lang="ru-RU" sz="1400" dirty="0">
                <a:latin typeface="Century Gothic" panose="020B0502020202020204" pitchFamily="34" charset="0"/>
              </a:rPr>
              <a:t>) </a:t>
            </a:r>
            <a:r>
              <a:rPr lang="ru-RU" sz="1400" dirty="0" err="1">
                <a:latin typeface="Century Gothic" panose="020B0502020202020204" pitchFamily="34" charset="0"/>
              </a:rPr>
              <a:t>мәселесі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пысықталуда</a:t>
            </a:r>
            <a:r>
              <a:rPr lang="ru-RU" sz="1400" dirty="0"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</a:rPr>
              <a:t>қосымш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орнатуд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ажет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ететін</a:t>
            </a:r>
            <a:r>
              <a:rPr lang="ru-RU" sz="1400" dirty="0">
                <a:latin typeface="Century Gothic" panose="020B0502020202020204" pitchFamily="34" charset="0"/>
              </a:rPr>
              <a:t> «</a:t>
            </a:r>
            <a:r>
              <a:rPr lang="ru-RU" sz="1400" dirty="0" err="1">
                <a:latin typeface="Century Gothic" panose="020B0502020202020204" pitchFamily="34" charset="0"/>
              </a:rPr>
              <a:t>Сергек</a:t>
            </a:r>
            <a:r>
              <a:rPr lang="ru-RU" sz="1400" dirty="0">
                <a:latin typeface="Century Gothic" panose="020B0502020202020204" pitchFamily="34" charset="0"/>
              </a:rPr>
              <a:t>» </a:t>
            </a:r>
            <a:r>
              <a:rPr lang="ru-RU" sz="1400" dirty="0" err="1">
                <a:latin typeface="Century Gothic" panose="020B0502020202020204" pitchFamily="34" charset="0"/>
              </a:rPr>
              <a:t>кешендерінің</a:t>
            </a:r>
            <a:r>
              <a:rPr lang="ru-RU" sz="1400" dirty="0">
                <a:latin typeface="Century Gothic" panose="020B0502020202020204" pitchFamily="34" charset="0"/>
              </a:rPr>
              <a:t> саны - 469 АӨК, </a:t>
            </a:r>
            <a:r>
              <a:rPr lang="ru-RU" sz="1400" dirty="0" err="1">
                <a:latin typeface="Century Gothic" panose="020B0502020202020204" pitchFamily="34" charset="0"/>
              </a:rPr>
              <a:t>сондай-ақ</a:t>
            </a:r>
            <a:r>
              <a:rPr lang="ru-RU" sz="1400" dirty="0">
                <a:latin typeface="Century Gothic" panose="020B0502020202020204" pitchFamily="34" charset="0"/>
              </a:rPr>
              <a:t> ЖДҚ ААЖ </a:t>
            </a:r>
            <a:r>
              <a:rPr lang="ru-RU" sz="1400" dirty="0" err="1">
                <a:latin typeface="Century Gothic" panose="020B0502020202020204" pitchFamily="34" charset="0"/>
              </a:rPr>
              <a:t>бекеттерін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аңғырту</a:t>
            </a:r>
            <a:r>
              <a:rPr lang="ru-RU" sz="1400" dirty="0">
                <a:latin typeface="Century Gothic" panose="020B0502020202020204" pitchFamily="34" charset="0"/>
              </a:rPr>
              <a:t> (</a:t>
            </a:r>
            <a:r>
              <a:rPr lang="ru-RU" sz="1400" dirty="0" err="1">
                <a:latin typeface="Century Gothic" panose="020B0502020202020204" pitchFamily="34" charset="0"/>
              </a:rPr>
              <a:t>ауыстыру</a:t>
            </a:r>
            <a:r>
              <a:rPr lang="ru-RU" sz="1400" dirty="0">
                <a:latin typeface="Century Gothic" panose="020B0502020202020204" pitchFamily="34" charset="0"/>
              </a:rPr>
              <a:t>) </a:t>
            </a:r>
            <a:r>
              <a:rPr lang="ru-RU" sz="1400" dirty="0" err="1">
                <a:latin typeface="Century Gothic" panose="020B0502020202020204" pitchFamily="34" charset="0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осымша</a:t>
            </a:r>
            <a:r>
              <a:rPr lang="ru-RU" sz="1400" dirty="0">
                <a:latin typeface="Century Gothic" panose="020B0502020202020204" pitchFamily="34" charset="0"/>
              </a:rPr>
              <a:t> 106 АӨК </a:t>
            </a:r>
            <a:r>
              <a:rPr lang="ru-RU" sz="1400" dirty="0" err="1">
                <a:latin typeface="Century Gothic" panose="020B0502020202020204" pitchFamily="34" charset="0"/>
              </a:rPr>
              <a:t>құрады</a:t>
            </a:r>
            <a:r>
              <a:rPr lang="ru-RU" sz="1400" dirty="0">
                <a:latin typeface="Century Gothic" panose="020B0502020202020204" pitchFamily="34" charset="0"/>
              </a:rPr>
              <a:t>. </a:t>
            </a:r>
            <a:r>
              <a:rPr lang="ru-RU" sz="1400" dirty="0" err="1">
                <a:latin typeface="Century Gothic" panose="020B0502020202020204" pitchFamily="34" charset="0"/>
              </a:rPr>
              <a:t>Жалпы</a:t>
            </a:r>
            <a:r>
              <a:rPr lang="ru-RU" sz="1400" dirty="0">
                <a:latin typeface="Century Gothic" panose="020B0502020202020204" pitchFamily="34" charset="0"/>
              </a:rPr>
              <a:t> саны 575 АӨК (493ЛУ 82п)</a:t>
            </a:r>
            <a:r>
              <a:rPr lang="ru-RU" sz="1400" dirty="0" err="1">
                <a:latin typeface="Century Gothic" panose="020B0502020202020204" pitchFamily="34" charset="0"/>
              </a:rPr>
              <a:t>құрады</a:t>
            </a:r>
            <a:r>
              <a:rPr lang="ru-RU" sz="1400" dirty="0">
                <a:latin typeface="Century Gothic" panose="020B0502020202020204" pitchFamily="34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err="1">
                <a:latin typeface="Century Gothic" panose="020B0502020202020204" pitchFamily="34" charset="0"/>
              </a:rPr>
              <a:t>Сергектің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келісім-шартын</a:t>
            </a:r>
            <a:r>
              <a:rPr lang="ru-RU" sz="1400" dirty="0">
                <a:latin typeface="Century Gothic" panose="020B0502020202020204" pitchFamily="34" charset="0"/>
              </a:rPr>
              <a:t> Алматы </a:t>
            </a:r>
            <a:r>
              <a:rPr lang="ru-RU" sz="1400" dirty="0" err="1">
                <a:latin typeface="Century Gothic" panose="020B0502020202020204" pitchFamily="34" charset="0"/>
              </a:rPr>
              <a:t>қаласының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цифрландыру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асқармасын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алансқа</a:t>
            </a:r>
            <a:r>
              <a:rPr lang="ru-RU" sz="1400" dirty="0">
                <a:latin typeface="Century Gothic" panose="020B0502020202020204" pitchFamily="34" charset="0"/>
              </a:rPr>
              <a:t> беру </a:t>
            </a:r>
            <a:r>
              <a:rPr lang="ru-RU" sz="1400" dirty="0" err="1">
                <a:latin typeface="Century Gothic" panose="020B0502020202020204" pitchFamily="34" charset="0"/>
              </a:rPr>
              <a:t>мәселесі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пысықталуда</a:t>
            </a:r>
            <a:r>
              <a:rPr lang="ru-RU" sz="1400" dirty="0">
                <a:latin typeface="Century Gothic" panose="020B0502020202020204" pitchFamily="34" charset="0"/>
              </a:rPr>
              <a:t>.</a:t>
            </a:r>
            <a:endParaRPr lang="ru-KZ" sz="1400" dirty="0">
              <a:latin typeface="Century Gothic" panose="020B0502020202020204" pitchFamily="34" charset="0"/>
            </a:endParaRPr>
          </a:p>
        </p:txBody>
      </p:sp>
      <p:sp>
        <p:nvSpPr>
          <p:cNvPr id="27" name="Google Shape;599;p39">
            <a:extLst>
              <a:ext uri="{FF2B5EF4-FFF2-40B4-BE49-F238E27FC236}">
                <a16:creationId xmlns:a16="http://schemas.microsoft.com/office/drawing/2014/main" id="{545B9E9B-2CA7-4841-8868-31D290A6E623}"/>
              </a:ext>
            </a:extLst>
          </p:cNvPr>
          <p:cNvSpPr/>
          <p:nvPr/>
        </p:nvSpPr>
        <p:spPr>
          <a:xfrm>
            <a:off x="7619378" y="1337341"/>
            <a:ext cx="276822" cy="282646"/>
          </a:xfrm>
          <a:prstGeom prst="ellipse">
            <a:avLst/>
          </a:prstGeom>
          <a:solidFill>
            <a:srgbClr val="FFC000"/>
          </a:solidFill>
          <a:ln w="19050" cap="flat" cmpd="sng">
            <a:solidFill>
              <a:srgbClr val="64646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Google Shape;598;p39">
            <a:extLst>
              <a:ext uri="{FF2B5EF4-FFF2-40B4-BE49-F238E27FC236}">
                <a16:creationId xmlns:a16="http://schemas.microsoft.com/office/drawing/2014/main" id="{9B8981FF-B05B-4C63-BB98-518A3E91BB4B}"/>
              </a:ext>
            </a:extLst>
          </p:cNvPr>
          <p:cNvSpPr/>
          <p:nvPr/>
        </p:nvSpPr>
        <p:spPr>
          <a:xfrm>
            <a:off x="579238" y="1337787"/>
            <a:ext cx="254069" cy="282646"/>
          </a:xfrm>
          <a:prstGeom prst="ellipse">
            <a:avLst/>
          </a:prstGeom>
          <a:solidFill>
            <a:srgbClr val="00B050"/>
          </a:solidFill>
          <a:ln w="19050" cap="flat" cmpd="sng">
            <a:solidFill>
              <a:srgbClr val="64646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Google Shape;499;p39">
            <a:extLst>
              <a:ext uri="{FF2B5EF4-FFF2-40B4-BE49-F238E27FC236}">
                <a16:creationId xmlns:a16="http://schemas.microsoft.com/office/drawing/2014/main" id="{8E0DFE55-0F6F-496E-AEB0-E0B335E82F68}"/>
              </a:ext>
            </a:extLst>
          </p:cNvPr>
          <p:cNvSpPr txBox="1"/>
          <p:nvPr/>
        </p:nvSpPr>
        <p:spPr>
          <a:xfrm>
            <a:off x="1990379" y="5835564"/>
            <a:ext cx="8211242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70C0"/>
              </a:buClr>
              <a:buSzPts val="1000"/>
            </a:pP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Алматы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лас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әкімінің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аулысыме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Сергекті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цифрландыр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асқармасына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беру.</a:t>
            </a:r>
          </a:p>
          <a:p>
            <a:pPr lvl="0" algn="ctr">
              <a:buClr>
                <a:srgbClr val="0070C0"/>
              </a:buClr>
              <a:buSzPts val="1000"/>
            </a:pP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«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өркем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Телеком» ЖШС-мен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осымша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шарт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асасу</a:t>
            </a:r>
            <a:endParaRPr lang="ru-RU" sz="1100" b="1" dirty="0">
              <a:latin typeface="Century Gothic" panose="020B0502020202020204" pitchFamily="34" charset="0"/>
              <a:ea typeface="Tahoma"/>
              <a:cs typeface="Tahoma"/>
              <a:sym typeface="Tahoma"/>
            </a:endParaRPr>
          </a:p>
        </p:txBody>
      </p:sp>
      <p:pic>
        <p:nvPicPr>
          <p:cNvPr id="2050" name="Picture 2" descr="AICT2018 | IEEE 12th International Conference on Application of Information  and Communication Technologies">
            <a:extLst>
              <a:ext uri="{FF2B5EF4-FFF2-40B4-BE49-F238E27FC236}">
                <a16:creationId xmlns:a16="http://schemas.microsoft.com/office/drawing/2014/main" id="{8DFBE7A8-CD80-4EE2-BAF9-B46BA5BC71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7955" y="4098149"/>
            <a:ext cx="1185958" cy="1185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2219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2">
            <a:extLst>
              <a:ext uri="{FF2B5EF4-FFF2-40B4-BE49-F238E27FC236}">
                <a16:creationId xmlns:a16="http://schemas.microsoft.com/office/drawing/2014/main" id="{43DB86B5-FE3E-4E44-B19E-0AB2D11731A0}"/>
              </a:ext>
            </a:extLst>
          </p:cNvPr>
          <p:cNvSpPr/>
          <p:nvPr/>
        </p:nvSpPr>
        <p:spPr>
          <a:xfrm>
            <a:off x="179997" y="179997"/>
            <a:ext cx="11832590" cy="6498590"/>
          </a:xfrm>
          <a:custGeom>
            <a:avLst/>
            <a:gdLst/>
            <a:ahLst/>
            <a:cxnLst/>
            <a:rect l="l" t="t" r="r" b="b"/>
            <a:pathLst>
              <a:path w="11832590" h="6498590">
                <a:moveTo>
                  <a:pt x="0" y="0"/>
                </a:moveTo>
                <a:lnTo>
                  <a:pt x="11832005" y="0"/>
                </a:lnTo>
                <a:lnTo>
                  <a:pt x="11832005" y="6498005"/>
                </a:lnTo>
                <a:lnTo>
                  <a:pt x="0" y="649800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EE3235"/>
            </a:solidFill>
          </a:ln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5" name="object 24">
            <a:extLst>
              <a:ext uri="{FF2B5EF4-FFF2-40B4-BE49-F238E27FC236}">
                <a16:creationId xmlns:a16="http://schemas.microsoft.com/office/drawing/2014/main" id="{8195274E-BB78-4F49-8ABC-479982854224}"/>
              </a:ext>
            </a:extLst>
          </p:cNvPr>
          <p:cNvSpPr/>
          <p:nvPr/>
        </p:nvSpPr>
        <p:spPr>
          <a:xfrm>
            <a:off x="768430" y="314360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96" y="20205"/>
                </a:moveTo>
                <a:lnTo>
                  <a:pt x="664641" y="20205"/>
                </a:lnTo>
                <a:lnTo>
                  <a:pt x="664641" y="68656"/>
                </a:lnTo>
                <a:lnTo>
                  <a:pt x="664933" y="68656"/>
                </a:lnTo>
                <a:lnTo>
                  <a:pt x="670039" y="69062"/>
                </a:lnTo>
                <a:lnTo>
                  <a:pt x="676935" y="69265"/>
                </a:lnTo>
                <a:lnTo>
                  <a:pt x="692073" y="69265"/>
                </a:lnTo>
                <a:lnTo>
                  <a:pt x="696607" y="68186"/>
                </a:lnTo>
                <a:lnTo>
                  <a:pt x="701916" y="63868"/>
                </a:lnTo>
                <a:lnTo>
                  <a:pt x="702343" y="62598"/>
                </a:lnTo>
                <a:lnTo>
                  <a:pt x="684339" y="62598"/>
                </a:lnTo>
                <a:lnTo>
                  <a:pt x="672896" y="62496"/>
                </a:lnTo>
                <a:lnTo>
                  <a:pt x="672896" y="45275"/>
                </a:lnTo>
                <a:lnTo>
                  <a:pt x="702162" y="45275"/>
                </a:lnTo>
                <a:lnTo>
                  <a:pt x="701890" y="44488"/>
                </a:lnTo>
                <a:lnTo>
                  <a:pt x="696442" y="40106"/>
                </a:lnTo>
                <a:lnTo>
                  <a:pt x="691502" y="39001"/>
                </a:lnTo>
                <a:lnTo>
                  <a:pt x="672896" y="39001"/>
                </a:lnTo>
                <a:lnTo>
                  <a:pt x="672896" y="20205"/>
                </a:lnTo>
                <a:close/>
              </a:path>
              <a:path w="720725" h="70484">
                <a:moveTo>
                  <a:pt x="702162" y="45275"/>
                </a:moveTo>
                <a:lnTo>
                  <a:pt x="688314" y="45275"/>
                </a:lnTo>
                <a:lnTo>
                  <a:pt x="691045" y="45885"/>
                </a:lnTo>
                <a:lnTo>
                  <a:pt x="693953" y="48348"/>
                </a:lnTo>
                <a:lnTo>
                  <a:pt x="694690" y="50584"/>
                </a:lnTo>
                <a:lnTo>
                  <a:pt x="694690" y="57353"/>
                </a:lnTo>
                <a:lnTo>
                  <a:pt x="693940" y="59689"/>
                </a:lnTo>
                <a:lnTo>
                  <a:pt x="690956" y="62014"/>
                </a:lnTo>
                <a:lnTo>
                  <a:pt x="688251" y="62598"/>
                </a:lnTo>
                <a:lnTo>
                  <a:pt x="702343" y="62598"/>
                </a:lnTo>
                <a:lnTo>
                  <a:pt x="703249" y="59905"/>
                </a:lnTo>
                <a:lnTo>
                  <a:pt x="703223" y="48348"/>
                </a:lnTo>
                <a:lnTo>
                  <a:pt x="702162" y="45275"/>
                </a:lnTo>
                <a:close/>
              </a:path>
              <a:path w="720725" h="70484">
                <a:moveTo>
                  <a:pt x="720661" y="20205"/>
                </a:moveTo>
                <a:lnTo>
                  <a:pt x="712101" y="20205"/>
                </a:lnTo>
                <a:lnTo>
                  <a:pt x="712101" y="68656"/>
                </a:lnTo>
                <a:lnTo>
                  <a:pt x="720661" y="68656"/>
                </a:lnTo>
                <a:lnTo>
                  <a:pt x="720661" y="20205"/>
                </a:lnTo>
                <a:close/>
              </a:path>
              <a:path w="720725" h="70484">
                <a:moveTo>
                  <a:pt x="642747" y="19011"/>
                </a:moveTo>
                <a:lnTo>
                  <a:pt x="628015" y="19011"/>
                </a:lnTo>
                <a:lnTo>
                  <a:pt x="622096" y="20916"/>
                </a:lnTo>
                <a:lnTo>
                  <a:pt x="615124" y="28549"/>
                </a:lnTo>
                <a:lnTo>
                  <a:pt x="613384" y="35090"/>
                </a:lnTo>
                <a:lnTo>
                  <a:pt x="613384" y="53733"/>
                </a:lnTo>
                <a:lnTo>
                  <a:pt x="615111" y="60324"/>
                </a:lnTo>
                <a:lnTo>
                  <a:pt x="622007" y="67944"/>
                </a:lnTo>
                <a:lnTo>
                  <a:pt x="627951" y="69862"/>
                </a:lnTo>
                <a:lnTo>
                  <a:pt x="642683" y="69862"/>
                </a:lnTo>
                <a:lnTo>
                  <a:pt x="648182" y="69024"/>
                </a:lnTo>
                <a:lnTo>
                  <a:pt x="652894" y="67373"/>
                </a:lnTo>
                <a:lnTo>
                  <a:pt x="652235" y="62699"/>
                </a:lnTo>
                <a:lnTo>
                  <a:pt x="631926" y="62699"/>
                </a:lnTo>
                <a:lnTo>
                  <a:pt x="627888" y="61404"/>
                </a:lnTo>
                <a:lnTo>
                  <a:pt x="623379" y="56222"/>
                </a:lnTo>
                <a:lnTo>
                  <a:pt x="622249" y="51409"/>
                </a:lnTo>
                <a:lnTo>
                  <a:pt x="622249" y="37414"/>
                </a:lnTo>
                <a:lnTo>
                  <a:pt x="623392" y="32638"/>
                </a:lnTo>
                <a:lnTo>
                  <a:pt x="627964" y="27470"/>
                </a:lnTo>
                <a:lnTo>
                  <a:pt x="631990" y="26174"/>
                </a:lnTo>
                <a:lnTo>
                  <a:pt x="651019" y="26174"/>
                </a:lnTo>
                <a:lnTo>
                  <a:pt x="651992" y="21297"/>
                </a:lnTo>
                <a:lnTo>
                  <a:pt x="647954" y="19773"/>
                </a:lnTo>
                <a:lnTo>
                  <a:pt x="642747" y="19011"/>
                </a:lnTo>
                <a:close/>
              </a:path>
              <a:path w="720725" h="70484">
                <a:moveTo>
                  <a:pt x="652094" y="61696"/>
                </a:moveTo>
                <a:lnTo>
                  <a:pt x="647915" y="62356"/>
                </a:lnTo>
                <a:lnTo>
                  <a:pt x="643140" y="62699"/>
                </a:lnTo>
                <a:lnTo>
                  <a:pt x="652235" y="62699"/>
                </a:lnTo>
                <a:lnTo>
                  <a:pt x="652094" y="61696"/>
                </a:lnTo>
                <a:close/>
              </a:path>
              <a:path w="720725" h="70484">
                <a:moveTo>
                  <a:pt x="651019" y="26174"/>
                </a:moveTo>
                <a:lnTo>
                  <a:pt x="642150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9" y="26174"/>
                </a:lnTo>
                <a:close/>
              </a:path>
              <a:path w="720725" h="70484">
                <a:moveTo>
                  <a:pt x="599338" y="26174"/>
                </a:moveTo>
                <a:lnTo>
                  <a:pt x="585660" y="26174"/>
                </a:lnTo>
                <a:lnTo>
                  <a:pt x="588213" y="26796"/>
                </a:lnTo>
                <a:lnTo>
                  <a:pt x="590994" y="29324"/>
                </a:lnTo>
                <a:lnTo>
                  <a:pt x="591731" y="31483"/>
                </a:lnTo>
                <a:lnTo>
                  <a:pt x="591794" y="38811"/>
                </a:lnTo>
                <a:lnTo>
                  <a:pt x="567347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47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402" y="68681"/>
                </a:lnTo>
                <a:lnTo>
                  <a:pt x="587362" y="65163"/>
                </a:lnTo>
                <a:lnTo>
                  <a:pt x="590270" y="63093"/>
                </a:lnTo>
                <a:lnTo>
                  <a:pt x="590987" y="62356"/>
                </a:lnTo>
                <a:lnTo>
                  <a:pt x="576859" y="62356"/>
                </a:lnTo>
                <a:lnTo>
                  <a:pt x="574281" y="62293"/>
                </a:lnTo>
                <a:lnTo>
                  <a:pt x="571690" y="62293"/>
                </a:lnTo>
                <a:lnTo>
                  <a:pt x="569785" y="61709"/>
                </a:lnTo>
                <a:lnTo>
                  <a:pt x="567321" y="59385"/>
                </a:lnTo>
                <a:lnTo>
                  <a:pt x="566724" y="57543"/>
                </a:lnTo>
                <a:lnTo>
                  <a:pt x="566724" y="47701"/>
                </a:lnTo>
                <a:lnTo>
                  <a:pt x="568845" y="45478"/>
                </a:lnTo>
                <a:lnTo>
                  <a:pt x="573087" y="45275"/>
                </a:lnTo>
                <a:lnTo>
                  <a:pt x="600252" y="45275"/>
                </a:lnTo>
                <a:lnTo>
                  <a:pt x="600252" y="28892"/>
                </a:lnTo>
                <a:lnTo>
                  <a:pt x="599338" y="26174"/>
                </a:lnTo>
                <a:close/>
              </a:path>
              <a:path w="720725" h="70484">
                <a:moveTo>
                  <a:pt x="600252" y="60705"/>
                </a:moveTo>
                <a:lnTo>
                  <a:pt x="592594" y="60705"/>
                </a:lnTo>
                <a:lnTo>
                  <a:pt x="593585" y="68656"/>
                </a:lnTo>
                <a:lnTo>
                  <a:pt x="600252" y="68656"/>
                </a:lnTo>
                <a:lnTo>
                  <a:pt x="600252" y="60705"/>
                </a:lnTo>
                <a:close/>
              </a:path>
              <a:path w="720725" h="70484">
                <a:moveTo>
                  <a:pt x="600252" y="45275"/>
                </a:moveTo>
                <a:lnTo>
                  <a:pt x="591794" y="45275"/>
                </a:lnTo>
                <a:lnTo>
                  <a:pt x="591794" y="55029"/>
                </a:lnTo>
                <a:lnTo>
                  <a:pt x="589076" y="57416"/>
                </a:lnTo>
                <a:lnTo>
                  <a:pt x="586117" y="59245"/>
                </a:lnTo>
                <a:lnTo>
                  <a:pt x="579755" y="61760"/>
                </a:lnTo>
                <a:lnTo>
                  <a:pt x="576859" y="62356"/>
                </a:lnTo>
                <a:lnTo>
                  <a:pt x="590987" y="62356"/>
                </a:lnTo>
                <a:lnTo>
                  <a:pt x="592594" y="60705"/>
                </a:lnTo>
                <a:lnTo>
                  <a:pt x="600252" y="60705"/>
                </a:lnTo>
                <a:lnTo>
                  <a:pt x="600252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100" y="19011"/>
                </a:lnTo>
                <a:lnTo>
                  <a:pt x="569264" y="19735"/>
                </a:lnTo>
                <a:lnTo>
                  <a:pt x="560247" y="21196"/>
                </a:lnTo>
                <a:lnTo>
                  <a:pt x="561047" y="27470"/>
                </a:lnTo>
                <a:lnTo>
                  <a:pt x="570268" y="26606"/>
                </a:lnTo>
                <a:lnTo>
                  <a:pt x="577227" y="26174"/>
                </a:lnTo>
                <a:lnTo>
                  <a:pt x="599338" y="26174"/>
                </a:lnTo>
                <a:lnTo>
                  <a:pt x="598906" y="24891"/>
                </a:lnTo>
                <a:lnTo>
                  <a:pt x="593534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44" y="20205"/>
                </a:lnTo>
                <a:lnTo>
                  <a:pt x="517359" y="21132"/>
                </a:lnTo>
                <a:lnTo>
                  <a:pt x="513372" y="24841"/>
                </a:lnTo>
                <a:lnTo>
                  <a:pt x="512152" y="27698"/>
                </a:lnTo>
                <a:lnTo>
                  <a:pt x="511683" y="31546"/>
                </a:lnTo>
                <a:lnTo>
                  <a:pt x="510425" y="43751"/>
                </a:lnTo>
                <a:lnTo>
                  <a:pt x="509003" y="51879"/>
                </a:lnTo>
                <a:lnTo>
                  <a:pt x="498856" y="62699"/>
                </a:lnTo>
                <a:lnTo>
                  <a:pt x="499745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98" y="29108"/>
                </a:lnTo>
                <a:lnTo>
                  <a:pt x="522376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9" y="26174"/>
                </a:moveTo>
                <a:lnTo>
                  <a:pt x="474802" y="26174"/>
                </a:lnTo>
                <a:lnTo>
                  <a:pt x="477354" y="26796"/>
                </a:lnTo>
                <a:lnTo>
                  <a:pt x="480148" y="29324"/>
                </a:lnTo>
                <a:lnTo>
                  <a:pt x="480872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99" y="39852"/>
                </a:lnTo>
                <a:lnTo>
                  <a:pt x="448487" y="44030"/>
                </a:lnTo>
                <a:lnTo>
                  <a:pt x="447306" y="46964"/>
                </a:lnTo>
                <a:lnTo>
                  <a:pt x="447306" y="60337"/>
                </a:lnTo>
                <a:lnTo>
                  <a:pt x="448589" y="63665"/>
                </a:lnTo>
                <a:lnTo>
                  <a:pt x="453771" y="68376"/>
                </a:lnTo>
                <a:lnTo>
                  <a:pt x="457288" y="69557"/>
                </a:lnTo>
                <a:lnTo>
                  <a:pt x="465772" y="69557"/>
                </a:lnTo>
                <a:lnTo>
                  <a:pt x="469544" y="68681"/>
                </a:lnTo>
                <a:lnTo>
                  <a:pt x="476516" y="65163"/>
                </a:lnTo>
                <a:lnTo>
                  <a:pt x="479412" y="63093"/>
                </a:lnTo>
                <a:lnTo>
                  <a:pt x="480129" y="62356"/>
                </a:lnTo>
                <a:lnTo>
                  <a:pt x="466013" y="62356"/>
                </a:lnTo>
                <a:lnTo>
                  <a:pt x="463423" y="62293"/>
                </a:lnTo>
                <a:lnTo>
                  <a:pt x="460844" y="62293"/>
                </a:lnTo>
                <a:lnTo>
                  <a:pt x="458927" y="61709"/>
                </a:lnTo>
                <a:lnTo>
                  <a:pt x="456476" y="59385"/>
                </a:lnTo>
                <a:lnTo>
                  <a:pt x="455866" y="57543"/>
                </a:lnTo>
                <a:lnTo>
                  <a:pt x="455866" y="47701"/>
                </a:lnTo>
                <a:lnTo>
                  <a:pt x="457987" y="45478"/>
                </a:lnTo>
                <a:lnTo>
                  <a:pt x="462229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9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36" y="60705"/>
                </a:lnTo>
                <a:lnTo>
                  <a:pt x="482727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18" y="57416"/>
                </a:lnTo>
                <a:lnTo>
                  <a:pt x="475259" y="59245"/>
                </a:lnTo>
                <a:lnTo>
                  <a:pt x="468896" y="61760"/>
                </a:lnTo>
                <a:lnTo>
                  <a:pt x="466013" y="62356"/>
                </a:lnTo>
                <a:lnTo>
                  <a:pt x="480129" y="62356"/>
                </a:lnTo>
                <a:lnTo>
                  <a:pt x="481736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510" y="19011"/>
                </a:moveTo>
                <a:lnTo>
                  <a:pt x="466242" y="19011"/>
                </a:lnTo>
                <a:lnTo>
                  <a:pt x="458419" y="19735"/>
                </a:lnTo>
                <a:lnTo>
                  <a:pt x="449389" y="21196"/>
                </a:lnTo>
                <a:lnTo>
                  <a:pt x="450189" y="27470"/>
                </a:lnTo>
                <a:lnTo>
                  <a:pt x="459409" y="26606"/>
                </a:lnTo>
                <a:lnTo>
                  <a:pt x="466382" y="26174"/>
                </a:lnTo>
                <a:lnTo>
                  <a:pt x="488479" y="26174"/>
                </a:lnTo>
                <a:lnTo>
                  <a:pt x="488048" y="24891"/>
                </a:lnTo>
                <a:lnTo>
                  <a:pt x="482676" y="20180"/>
                </a:lnTo>
                <a:lnTo>
                  <a:pt x="478510" y="19011"/>
                </a:lnTo>
                <a:close/>
              </a:path>
              <a:path w="720725" h="70484">
                <a:moveTo>
                  <a:pt x="405015" y="20205"/>
                </a:moveTo>
                <a:lnTo>
                  <a:pt x="396557" y="20205"/>
                </a:lnTo>
                <a:lnTo>
                  <a:pt x="396557" y="68656"/>
                </a:lnTo>
                <a:lnTo>
                  <a:pt x="405015" y="68656"/>
                </a:lnTo>
                <a:lnTo>
                  <a:pt x="404890" y="49060"/>
                </a:lnTo>
                <a:lnTo>
                  <a:pt x="404609" y="46774"/>
                </a:lnTo>
                <a:lnTo>
                  <a:pt x="427304" y="46774"/>
                </a:lnTo>
                <a:lnTo>
                  <a:pt x="418744" y="43586"/>
                </a:lnTo>
                <a:lnTo>
                  <a:pt x="418744" y="43281"/>
                </a:lnTo>
                <a:lnTo>
                  <a:pt x="426639" y="40208"/>
                </a:lnTo>
                <a:lnTo>
                  <a:pt x="404520" y="40208"/>
                </a:lnTo>
                <a:lnTo>
                  <a:pt x="404795" y="38544"/>
                </a:lnTo>
                <a:lnTo>
                  <a:pt x="404916" y="37477"/>
                </a:lnTo>
                <a:lnTo>
                  <a:pt x="405015" y="20205"/>
                </a:lnTo>
                <a:close/>
              </a:path>
              <a:path w="720725" h="70484">
                <a:moveTo>
                  <a:pt x="427304" y="46774"/>
                </a:moveTo>
                <a:lnTo>
                  <a:pt x="413169" y="46774"/>
                </a:lnTo>
                <a:lnTo>
                  <a:pt x="414426" y="46951"/>
                </a:lnTo>
                <a:lnTo>
                  <a:pt x="416687" y="47675"/>
                </a:lnTo>
                <a:lnTo>
                  <a:pt x="429793" y="68656"/>
                </a:lnTo>
                <a:lnTo>
                  <a:pt x="438645" y="68656"/>
                </a:lnTo>
                <a:lnTo>
                  <a:pt x="428599" y="47993"/>
                </a:lnTo>
                <a:lnTo>
                  <a:pt x="427304" y="46774"/>
                </a:lnTo>
                <a:close/>
              </a:path>
              <a:path w="720725" h="70484">
                <a:moveTo>
                  <a:pt x="437261" y="20205"/>
                </a:moveTo>
                <a:lnTo>
                  <a:pt x="428498" y="20205"/>
                </a:lnTo>
                <a:lnTo>
                  <a:pt x="427101" y="24053"/>
                </a:lnTo>
                <a:lnTo>
                  <a:pt x="425983" y="26936"/>
                </a:lnTo>
                <a:lnTo>
                  <a:pt x="413600" y="40208"/>
                </a:lnTo>
                <a:lnTo>
                  <a:pt x="426639" y="40208"/>
                </a:lnTo>
                <a:lnTo>
                  <a:pt x="428371" y="38544"/>
                </a:lnTo>
                <a:lnTo>
                  <a:pt x="429425" y="37477"/>
                </a:lnTo>
                <a:lnTo>
                  <a:pt x="430022" y="36588"/>
                </a:lnTo>
                <a:lnTo>
                  <a:pt x="431342" y="34061"/>
                </a:lnTo>
                <a:lnTo>
                  <a:pt x="432676" y="31699"/>
                </a:lnTo>
                <a:lnTo>
                  <a:pt x="433222" y="30479"/>
                </a:lnTo>
                <a:lnTo>
                  <a:pt x="435876" y="23926"/>
                </a:lnTo>
                <a:lnTo>
                  <a:pt x="437261" y="20205"/>
                </a:lnTo>
                <a:close/>
              </a:path>
              <a:path w="720725" h="70484">
                <a:moveTo>
                  <a:pt x="310870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20" y="68656"/>
                </a:lnTo>
                <a:lnTo>
                  <a:pt x="308025" y="69062"/>
                </a:lnTo>
                <a:lnTo>
                  <a:pt x="314921" y="69265"/>
                </a:lnTo>
                <a:lnTo>
                  <a:pt x="330047" y="69265"/>
                </a:lnTo>
                <a:lnTo>
                  <a:pt x="334594" y="68186"/>
                </a:lnTo>
                <a:lnTo>
                  <a:pt x="339902" y="63868"/>
                </a:lnTo>
                <a:lnTo>
                  <a:pt x="340326" y="62598"/>
                </a:lnTo>
                <a:lnTo>
                  <a:pt x="322326" y="62598"/>
                </a:lnTo>
                <a:lnTo>
                  <a:pt x="310870" y="62496"/>
                </a:lnTo>
                <a:lnTo>
                  <a:pt x="310870" y="45275"/>
                </a:lnTo>
                <a:lnTo>
                  <a:pt x="340136" y="45275"/>
                </a:lnTo>
                <a:lnTo>
                  <a:pt x="339864" y="44488"/>
                </a:lnTo>
                <a:lnTo>
                  <a:pt x="334429" y="40106"/>
                </a:lnTo>
                <a:lnTo>
                  <a:pt x="329476" y="39001"/>
                </a:lnTo>
                <a:lnTo>
                  <a:pt x="310870" y="39001"/>
                </a:lnTo>
                <a:lnTo>
                  <a:pt x="310870" y="20205"/>
                </a:lnTo>
                <a:close/>
              </a:path>
              <a:path w="720725" h="70484">
                <a:moveTo>
                  <a:pt x="340136" y="45275"/>
                </a:moveTo>
                <a:lnTo>
                  <a:pt x="326301" y="45275"/>
                </a:lnTo>
                <a:lnTo>
                  <a:pt x="329018" y="45885"/>
                </a:lnTo>
                <a:lnTo>
                  <a:pt x="331939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14" y="59689"/>
                </a:lnTo>
                <a:lnTo>
                  <a:pt x="328942" y="62014"/>
                </a:lnTo>
                <a:lnTo>
                  <a:pt x="326237" y="62598"/>
                </a:lnTo>
                <a:lnTo>
                  <a:pt x="340326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3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63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63" y="27165"/>
                </a:lnTo>
                <a:lnTo>
                  <a:pt x="292163" y="20205"/>
                </a:lnTo>
                <a:close/>
              </a:path>
              <a:path w="720725" h="70484">
                <a:moveTo>
                  <a:pt x="237718" y="26174"/>
                </a:moveTo>
                <a:lnTo>
                  <a:pt x="224040" y="26174"/>
                </a:lnTo>
                <a:lnTo>
                  <a:pt x="226580" y="26796"/>
                </a:lnTo>
                <a:lnTo>
                  <a:pt x="229374" y="29324"/>
                </a:lnTo>
                <a:lnTo>
                  <a:pt x="230111" y="31483"/>
                </a:lnTo>
                <a:lnTo>
                  <a:pt x="230174" y="38811"/>
                </a:lnTo>
                <a:lnTo>
                  <a:pt x="205727" y="38811"/>
                </a:lnTo>
                <a:lnTo>
                  <a:pt x="202425" y="39852"/>
                </a:lnTo>
                <a:lnTo>
                  <a:pt x="197713" y="44030"/>
                </a:lnTo>
                <a:lnTo>
                  <a:pt x="196532" y="46964"/>
                </a:lnTo>
                <a:lnTo>
                  <a:pt x="196532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14" y="69557"/>
                </a:lnTo>
                <a:lnTo>
                  <a:pt x="215011" y="69557"/>
                </a:lnTo>
                <a:lnTo>
                  <a:pt x="218782" y="68681"/>
                </a:lnTo>
                <a:lnTo>
                  <a:pt x="225742" y="65163"/>
                </a:lnTo>
                <a:lnTo>
                  <a:pt x="228650" y="63093"/>
                </a:lnTo>
                <a:lnTo>
                  <a:pt x="229367" y="62356"/>
                </a:lnTo>
                <a:lnTo>
                  <a:pt x="215239" y="62356"/>
                </a:lnTo>
                <a:lnTo>
                  <a:pt x="212661" y="62293"/>
                </a:lnTo>
                <a:lnTo>
                  <a:pt x="210070" y="62293"/>
                </a:lnTo>
                <a:lnTo>
                  <a:pt x="208165" y="61709"/>
                </a:lnTo>
                <a:lnTo>
                  <a:pt x="205701" y="59385"/>
                </a:lnTo>
                <a:lnTo>
                  <a:pt x="205105" y="57543"/>
                </a:lnTo>
                <a:lnTo>
                  <a:pt x="205105" y="47701"/>
                </a:lnTo>
                <a:lnTo>
                  <a:pt x="207225" y="45478"/>
                </a:lnTo>
                <a:lnTo>
                  <a:pt x="211467" y="45275"/>
                </a:lnTo>
                <a:lnTo>
                  <a:pt x="238633" y="45275"/>
                </a:lnTo>
                <a:lnTo>
                  <a:pt x="238633" y="28892"/>
                </a:lnTo>
                <a:lnTo>
                  <a:pt x="237718" y="26174"/>
                </a:lnTo>
                <a:close/>
              </a:path>
              <a:path w="720725" h="70484">
                <a:moveTo>
                  <a:pt x="238633" y="60705"/>
                </a:moveTo>
                <a:lnTo>
                  <a:pt x="230974" y="60705"/>
                </a:lnTo>
                <a:lnTo>
                  <a:pt x="231965" y="68656"/>
                </a:lnTo>
                <a:lnTo>
                  <a:pt x="238633" y="68656"/>
                </a:lnTo>
                <a:lnTo>
                  <a:pt x="238633" y="60705"/>
                </a:lnTo>
                <a:close/>
              </a:path>
              <a:path w="720725" h="70484">
                <a:moveTo>
                  <a:pt x="238633" y="45275"/>
                </a:moveTo>
                <a:lnTo>
                  <a:pt x="230174" y="45275"/>
                </a:lnTo>
                <a:lnTo>
                  <a:pt x="230174" y="55029"/>
                </a:lnTo>
                <a:lnTo>
                  <a:pt x="227457" y="57416"/>
                </a:lnTo>
                <a:lnTo>
                  <a:pt x="224497" y="59245"/>
                </a:lnTo>
                <a:lnTo>
                  <a:pt x="218122" y="61760"/>
                </a:lnTo>
                <a:lnTo>
                  <a:pt x="215239" y="62356"/>
                </a:lnTo>
                <a:lnTo>
                  <a:pt x="229367" y="62356"/>
                </a:lnTo>
                <a:lnTo>
                  <a:pt x="230974" y="60705"/>
                </a:lnTo>
                <a:lnTo>
                  <a:pt x="238633" y="60705"/>
                </a:lnTo>
                <a:lnTo>
                  <a:pt x="238633" y="45275"/>
                </a:lnTo>
                <a:close/>
              </a:path>
              <a:path w="720725" h="70484">
                <a:moveTo>
                  <a:pt x="227749" y="19011"/>
                </a:moveTo>
                <a:lnTo>
                  <a:pt x="215480" y="19011"/>
                </a:lnTo>
                <a:lnTo>
                  <a:pt x="207645" y="19735"/>
                </a:lnTo>
                <a:lnTo>
                  <a:pt x="198628" y="21196"/>
                </a:lnTo>
                <a:lnTo>
                  <a:pt x="199428" y="27470"/>
                </a:lnTo>
                <a:lnTo>
                  <a:pt x="208648" y="26606"/>
                </a:lnTo>
                <a:lnTo>
                  <a:pt x="215607" y="26174"/>
                </a:lnTo>
                <a:lnTo>
                  <a:pt x="237718" y="26174"/>
                </a:lnTo>
                <a:lnTo>
                  <a:pt x="237286" y="24891"/>
                </a:lnTo>
                <a:lnTo>
                  <a:pt x="231914" y="20180"/>
                </a:lnTo>
                <a:lnTo>
                  <a:pt x="227749" y="19011"/>
                </a:lnTo>
                <a:close/>
              </a:path>
              <a:path w="720725" h="70484">
                <a:moveTo>
                  <a:pt x="139382" y="20205"/>
                </a:moveTo>
                <a:lnTo>
                  <a:pt x="126784" y="20205"/>
                </a:lnTo>
                <a:lnTo>
                  <a:pt x="125691" y="21259"/>
                </a:lnTo>
                <a:lnTo>
                  <a:pt x="125691" y="23380"/>
                </a:lnTo>
                <a:lnTo>
                  <a:pt x="123698" y="68656"/>
                </a:lnTo>
                <a:lnTo>
                  <a:pt x="131457" y="68656"/>
                </a:lnTo>
                <a:lnTo>
                  <a:pt x="133248" y="26669"/>
                </a:lnTo>
                <a:lnTo>
                  <a:pt x="142336" y="26669"/>
                </a:lnTo>
                <a:lnTo>
                  <a:pt x="141008" y="22986"/>
                </a:lnTo>
                <a:lnTo>
                  <a:pt x="140487" y="21132"/>
                </a:lnTo>
                <a:lnTo>
                  <a:pt x="139382" y="20205"/>
                </a:lnTo>
                <a:close/>
              </a:path>
              <a:path w="720725" h="70484">
                <a:moveTo>
                  <a:pt x="182460" y="26669"/>
                </a:moveTo>
                <a:lnTo>
                  <a:pt x="174650" y="26669"/>
                </a:lnTo>
                <a:lnTo>
                  <a:pt x="176542" y="68656"/>
                </a:lnTo>
                <a:lnTo>
                  <a:pt x="184404" y="68656"/>
                </a:lnTo>
                <a:lnTo>
                  <a:pt x="182460" y="26669"/>
                </a:lnTo>
                <a:close/>
              </a:path>
              <a:path w="720725" h="70484">
                <a:moveTo>
                  <a:pt x="142336" y="26669"/>
                </a:moveTo>
                <a:lnTo>
                  <a:pt x="134937" y="26669"/>
                </a:lnTo>
                <a:lnTo>
                  <a:pt x="147281" y="60604"/>
                </a:lnTo>
                <a:lnTo>
                  <a:pt x="147878" y="62458"/>
                </a:lnTo>
                <a:lnTo>
                  <a:pt x="149009" y="63385"/>
                </a:lnTo>
                <a:lnTo>
                  <a:pt x="158889" y="63385"/>
                </a:lnTo>
                <a:lnTo>
                  <a:pt x="160020" y="62458"/>
                </a:lnTo>
                <a:lnTo>
                  <a:pt x="160616" y="60604"/>
                </a:lnTo>
                <a:lnTo>
                  <a:pt x="161632" y="57810"/>
                </a:lnTo>
                <a:lnTo>
                  <a:pt x="153149" y="57810"/>
                </a:lnTo>
                <a:lnTo>
                  <a:pt x="152425" y="55029"/>
                </a:lnTo>
                <a:lnTo>
                  <a:pt x="151726" y="52704"/>
                </a:lnTo>
                <a:lnTo>
                  <a:pt x="142336" y="26669"/>
                </a:lnTo>
                <a:close/>
              </a:path>
              <a:path w="720725" h="70484">
                <a:moveTo>
                  <a:pt x="181241" y="20205"/>
                </a:moveTo>
                <a:lnTo>
                  <a:pt x="168605" y="20205"/>
                </a:lnTo>
                <a:lnTo>
                  <a:pt x="167487" y="21132"/>
                </a:lnTo>
                <a:lnTo>
                  <a:pt x="166878" y="22986"/>
                </a:lnTo>
                <a:lnTo>
                  <a:pt x="156832" y="50850"/>
                </a:lnTo>
                <a:lnTo>
                  <a:pt x="156375" y="52247"/>
                </a:lnTo>
                <a:lnTo>
                  <a:pt x="155663" y="54559"/>
                </a:lnTo>
                <a:lnTo>
                  <a:pt x="154749" y="57810"/>
                </a:lnTo>
                <a:lnTo>
                  <a:pt x="161632" y="57810"/>
                </a:lnTo>
                <a:lnTo>
                  <a:pt x="172948" y="26669"/>
                </a:lnTo>
                <a:lnTo>
                  <a:pt x="182460" y="26669"/>
                </a:lnTo>
                <a:lnTo>
                  <a:pt x="182308" y="23380"/>
                </a:lnTo>
                <a:lnTo>
                  <a:pt x="182308" y="21259"/>
                </a:lnTo>
                <a:lnTo>
                  <a:pt x="181241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89" y="20205"/>
                </a:lnTo>
                <a:lnTo>
                  <a:pt x="81305" y="21132"/>
                </a:lnTo>
                <a:lnTo>
                  <a:pt x="77317" y="24841"/>
                </a:lnTo>
                <a:lnTo>
                  <a:pt x="76098" y="27698"/>
                </a:lnTo>
                <a:lnTo>
                  <a:pt x="75628" y="31546"/>
                </a:lnTo>
                <a:lnTo>
                  <a:pt x="74371" y="43751"/>
                </a:lnTo>
                <a:lnTo>
                  <a:pt x="72948" y="51879"/>
                </a:lnTo>
                <a:lnTo>
                  <a:pt x="62788" y="62699"/>
                </a:lnTo>
                <a:lnTo>
                  <a:pt x="63690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21" y="27317"/>
                </a:lnTo>
                <a:lnTo>
                  <a:pt x="87807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96" y="0"/>
                </a:lnTo>
                <a:lnTo>
                  <a:pt x="22491" y="800"/>
                </a:lnTo>
                <a:lnTo>
                  <a:pt x="22098" y="2387"/>
                </a:lnTo>
                <a:lnTo>
                  <a:pt x="0" y="68656"/>
                </a:lnTo>
                <a:lnTo>
                  <a:pt x="9055" y="68656"/>
                </a:lnTo>
                <a:lnTo>
                  <a:pt x="15824" y="47167"/>
                </a:lnTo>
                <a:lnTo>
                  <a:pt x="52744" y="47167"/>
                </a:lnTo>
                <a:lnTo>
                  <a:pt x="50226" y="39611"/>
                </a:lnTo>
                <a:lnTo>
                  <a:pt x="18211" y="39611"/>
                </a:lnTo>
                <a:lnTo>
                  <a:pt x="26873" y="12344"/>
                </a:lnTo>
                <a:lnTo>
                  <a:pt x="28562" y="6769"/>
                </a:lnTo>
                <a:lnTo>
                  <a:pt x="39280" y="6769"/>
                </a:lnTo>
                <a:lnTo>
                  <a:pt x="37820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44" y="47167"/>
                </a:moveTo>
                <a:lnTo>
                  <a:pt x="44081" y="47167"/>
                </a:lnTo>
                <a:lnTo>
                  <a:pt x="50850" y="68656"/>
                </a:lnTo>
                <a:lnTo>
                  <a:pt x="59905" y="68656"/>
                </a:lnTo>
                <a:lnTo>
                  <a:pt x="52744" y="47167"/>
                </a:lnTo>
                <a:close/>
              </a:path>
              <a:path w="720725" h="70484">
                <a:moveTo>
                  <a:pt x="39280" y="6769"/>
                </a:moveTo>
                <a:lnTo>
                  <a:pt x="31343" y="6769"/>
                </a:lnTo>
                <a:lnTo>
                  <a:pt x="31877" y="8762"/>
                </a:lnTo>
                <a:lnTo>
                  <a:pt x="32448" y="10617"/>
                </a:lnTo>
                <a:lnTo>
                  <a:pt x="33045" y="12344"/>
                </a:lnTo>
                <a:lnTo>
                  <a:pt x="41694" y="39611"/>
                </a:lnTo>
                <a:lnTo>
                  <a:pt x="50226" y="39611"/>
                </a:lnTo>
                <a:lnTo>
                  <a:pt x="39280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6" name="object 25">
            <a:extLst>
              <a:ext uri="{FF2B5EF4-FFF2-40B4-BE49-F238E27FC236}">
                <a16:creationId xmlns:a16="http://schemas.microsoft.com/office/drawing/2014/main" id="{082CB2AC-21C3-4350-AE8B-74B94D92DB3C}"/>
              </a:ext>
            </a:extLst>
          </p:cNvPr>
          <p:cNvSpPr/>
          <p:nvPr/>
        </p:nvSpPr>
        <p:spPr>
          <a:xfrm>
            <a:off x="775530" y="5906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01" y="20802"/>
                </a:lnTo>
                <a:lnTo>
                  <a:pt x="507301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2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5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62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5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49" y="51193"/>
                </a:lnTo>
                <a:lnTo>
                  <a:pt x="537349" y="57950"/>
                </a:lnTo>
                <a:lnTo>
                  <a:pt x="536600" y="60286"/>
                </a:lnTo>
                <a:lnTo>
                  <a:pt x="533615" y="62611"/>
                </a:lnTo>
                <a:lnTo>
                  <a:pt x="530910" y="63195"/>
                </a:lnTo>
                <a:lnTo>
                  <a:pt x="545012" y="63195"/>
                </a:lnTo>
                <a:lnTo>
                  <a:pt x="545909" y="60502"/>
                </a:lnTo>
                <a:lnTo>
                  <a:pt x="545878" y="48945"/>
                </a:lnTo>
                <a:lnTo>
                  <a:pt x="544825" y="45885"/>
                </a:lnTo>
                <a:close/>
              </a:path>
              <a:path w="563880" h="89534">
                <a:moveTo>
                  <a:pt x="563321" y="20802"/>
                </a:moveTo>
                <a:lnTo>
                  <a:pt x="554761" y="20802"/>
                </a:lnTo>
                <a:lnTo>
                  <a:pt x="554761" y="69265"/>
                </a:lnTo>
                <a:lnTo>
                  <a:pt x="563321" y="69265"/>
                </a:lnTo>
                <a:lnTo>
                  <a:pt x="563321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74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42" y="69634"/>
                </a:lnTo>
                <a:lnTo>
                  <a:pt x="495553" y="67970"/>
                </a:lnTo>
                <a:lnTo>
                  <a:pt x="494904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51" y="33235"/>
                </a:lnTo>
                <a:lnTo>
                  <a:pt x="470623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4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1995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289" y="68973"/>
                </a:lnTo>
                <a:lnTo>
                  <a:pt x="410806" y="70154"/>
                </a:lnTo>
                <a:lnTo>
                  <a:pt x="419290" y="70154"/>
                </a:lnTo>
                <a:lnTo>
                  <a:pt x="423087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45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47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1995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45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77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28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07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1995" y="26771"/>
                </a:lnTo>
                <a:lnTo>
                  <a:pt x="441566" y="25501"/>
                </a:lnTo>
                <a:lnTo>
                  <a:pt x="436194" y="20777"/>
                </a:lnTo>
                <a:lnTo>
                  <a:pt x="432028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63" y="20802"/>
                </a:lnTo>
                <a:lnTo>
                  <a:pt x="329971" y="21856"/>
                </a:lnTo>
                <a:lnTo>
                  <a:pt x="329971" y="23977"/>
                </a:lnTo>
                <a:lnTo>
                  <a:pt x="327977" y="69265"/>
                </a:lnTo>
                <a:lnTo>
                  <a:pt x="335737" y="69265"/>
                </a:lnTo>
                <a:lnTo>
                  <a:pt x="337527" y="27266"/>
                </a:lnTo>
                <a:lnTo>
                  <a:pt x="346627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40" y="27266"/>
                </a:moveTo>
                <a:lnTo>
                  <a:pt x="378929" y="27266"/>
                </a:lnTo>
                <a:lnTo>
                  <a:pt x="380822" y="69265"/>
                </a:lnTo>
                <a:lnTo>
                  <a:pt x="388683" y="69265"/>
                </a:lnTo>
                <a:lnTo>
                  <a:pt x="386740" y="27266"/>
                </a:lnTo>
                <a:close/>
              </a:path>
              <a:path w="563880" h="89534">
                <a:moveTo>
                  <a:pt x="346627" y="27266"/>
                </a:moveTo>
                <a:lnTo>
                  <a:pt x="339229" y="27266"/>
                </a:lnTo>
                <a:lnTo>
                  <a:pt x="351561" y="61201"/>
                </a:lnTo>
                <a:lnTo>
                  <a:pt x="352158" y="63068"/>
                </a:lnTo>
                <a:lnTo>
                  <a:pt x="353288" y="63982"/>
                </a:lnTo>
                <a:lnTo>
                  <a:pt x="363169" y="63982"/>
                </a:lnTo>
                <a:lnTo>
                  <a:pt x="364299" y="63068"/>
                </a:lnTo>
                <a:lnTo>
                  <a:pt x="364896" y="61201"/>
                </a:lnTo>
                <a:lnTo>
                  <a:pt x="365908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46627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11" y="51447"/>
                </a:lnTo>
                <a:lnTo>
                  <a:pt x="360654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08" y="58420"/>
                </a:lnTo>
                <a:lnTo>
                  <a:pt x="377240" y="27266"/>
                </a:lnTo>
                <a:lnTo>
                  <a:pt x="386740" y="27266"/>
                </a:lnTo>
                <a:lnTo>
                  <a:pt x="386588" y="23977"/>
                </a:lnTo>
                <a:lnTo>
                  <a:pt x="386461" y="21729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22" y="65481"/>
                </a:lnTo>
                <a:lnTo>
                  <a:pt x="310492" y="65481"/>
                </a:lnTo>
                <a:lnTo>
                  <a:pt x="312319" y="63093"/>
                </a:lnTo>
                <a:lnTo>
                  <a:pt x="291363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54" y="29464"/>
                </a:lnTo>
                <a:lnTo>
                  <a:pt x="288060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492" y="65481"/>
                </a:moveTo>
                <a:lnTo>
                  <a:pt x="279222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40" y="68554"/>
                </a:lnTo>
                <a:lnTo>
                  <a:pt x="310492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85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19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58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0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58" y="19608"/>
                </a:lnTo>
                <a:close/>
              </a:path>
              <a:path w="563880" h="89534">
                <a:moveTo>
                  <a:pt x="254619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78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30" y="39408"/>
                </a:lnTo>
                <a:lnTo>
                  <a:pt x="219329" y="40449"/>
                </a:lnTo>
                <a:lnTo>
                  <a:pt x="214617" y="44627"/>
                </a:lnTo>
                <a:lnTo>
                  <a:pt x="213436" y="47574"/>
                </a:lnTo>
                <a:lnTo>
                  <a:pt x="213436" y="60934"/>
                </a:lnTo>
                <a:lnTo>
                  <a:pt x="214731" y="64274"/>
                </a:lnTo>
                <a:lnTo>
                  <a:pt x="219913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46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71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19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52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31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11" y="26771"/>
                </a:lnTo>
                <a:lnTo>
                  <a:pt x="254619" y="26771"/>
                </a:lnTo>
                <a:lnTo>
                  <a:pt x="254190" y="25501"/>
                </a:lnTo>
                <a:lnTo>
                  <a:pt x="248818" y="20777"/>
                </a:lnTo>
                <a:lnTo>
                  <a:pt x="244652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51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1" y="40805"/>
                </a:lnTo>
                <a:lnTo>
                  <a:pt x="170649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29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390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43" y="40805"/>
                </a:lnTo>
                <a:lnTo>
                  <a:pt x="192781" y="40805"/>
                </a:lnTo>
                <a:lnTo>
                  <a:pt x="195567" y="38087"/>
                </a:lnTo>
                <a:lnTo>
                  <a:pt x="196164" y="37185"/>
                </a:lnTo>
                <a:lnTo>
                  <a:pt x="198018" y="33693"/>
                </a:lnTo>
                <a:lnTo>
                  <a:pt x="198818" y="32296"/>
                </a:lnTo>
                <a:lnTo>
                  <a:pt x="199364" y="31076"/>
                </a:lnTo>
                <a:lnTo>
                  <a:pt x="202018" y="24536"/>
                </a:lnTo>
                <a:lnTo>
                  <a:pt x="202603" y="22987"/>
                </a:lnTo>
                <a:lnTo>
                  <a:pt x="203390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40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78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78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58" y="27368"/>
                </a:lnTo>
                <a:lnTo>
                  <a:pt x="149078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52" y="29921"/>
                </a:lnTo>
                <a:lnTo>
                  <a:pt x="89789" y="32080"/>
                </a:lnTo>
                <a:lnTo>
                  <a:pt x="89852" y="39408"/>
                </a:lnTo>
                <a:lnTo>
                  <a:pt x="65404" y="39408"/>
                </a:lnTo>
                <a:lnTo>
                  <a:pt x="62103" y="40449"/>
                </a:lnTo>
                <a:lnTo>
                  <a:pt x="57391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20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39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34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05" y="28067"/>
                </a:lnTo>
                <a:lnTo>
                  <a:pt x="68325" y="27203"/>
                </a:lnTo>
                <a:lnTo>
                  <a:pt x="75285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190" y="69265"/>
                </a:lnTo>
                <a:lnTo>
                  <a:pt x="6756" y="69862"/>
                </a:lnTo>
                <a:lnTo>
                  <a:pt x="13957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64" y="62560"/>
                </a:lnTo>
                <a:lnTo>
                  <a:pt x="8750" y="62496"/>
                </a:lnTo>
                <a:lnTo>
                  <a:pt x="8750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50" y="30149"/>
                </a:lnTo>
                <a:lnTo>
                  <a:pt x="8750" y="7861"/>
                </a:lnTo>
                <a:lnTo>
                  <a:pt x="41389" y="7861"/>
                </a:lnTo>
                <a:lnTo>
                  <a:pt x="42189" y="596"/>
                </a:lnTo>
                <a:lnTo>
                  <a:pt x="35217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48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48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7" name="object 26">
            <a:extLst>
              <a:ext uri="{FF2B5EF4-FFF2-40B4-BE49-F238E27FC236}">
                <a16:creationId xmlns:a16="http://schemas.microsoft.com/office/drawing/2014/main" id="{CDBDE963-7161-4B85-8B90-2CF53A089C41}"/>
              </a:ext>
            </a:extLst>
          </p:cNvPr>
          <p:cNvSpPr/>
          <p:nvPr/>
        </p:nvSpPr>
        <p:spPr>
          <a:xfrm>
            <a:off x="774201" y="425570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40" y="103365"/>
                </a:lnTo>
                <a:lnTo>
                  <a:pt x="984491" y="105181"/>
                </a:lnTo>
                <a:lnTo>
                  <a:pt x="992504" y="105181"/>
                </a:lnTo>
                <a:lnTo>
                  <a:pt x="990206" y="110883"/>
                </a:lnTo>
                <a:lnTo>
                  <a:pt x="987094" y="114896"/>
                </a:lnTo>
                <a:lnTo>
                  <a:pt x="983195" y="117195"/>
                </a:lnTo>
                <a:lnTo>
                  <a:pt x="979385" y="119494"/>
                </a:lnTo>
                <a:lnTo>
                  <a:pt x="972921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34" y="127550"/>
                </a:lnTo>
                <a:lnTo>
                  <a:pt x="1004639" y="121813"/>
                </a:lnTo>
                <a:lnTo>
                  <a:pt x="1005480" y="120497"/>
                </a:lnTo>
                <a:lnTo>
                  <a:pt x="972921" y="120497"/>
                </a:lnTo>
                <a:lnTo>
                  <a:pt x="963815" y="120205"/>
                </a:lnTo>
                <a:lnTo>
                  <a:pt x="1005666" y="120205"/>
                </a:lnTo>
                <a:lnTo>
                  <a:pt x="1009178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08" y="90144"/>
                </a:lnTo>
                <a:lnTo>
                  <a:pt x="996315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22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48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699" y="133718"/>
                </a:lnTo>
                <a:lnTo>
                  <a:pt x="897680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699" y="87591"/>
                </a:lnTo>
                <a:lnTo>
                  <a:pt x="897699" y="53644"/>
                </a:lnTo>
                <a:lnTo>
                  <a:pt x="904913" y="48933"/>
                </a:lnTo>
                <a:lnTo>
                  <a:pt x="911021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48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2" y="103068"/>
                </a:lnTo>
                <a:lnTo>
                  <a:pt x="908330" y="105322"/>
                </a:lnTo>
                <a:lnTo>
                  <a:pt x="914858" y="106674"/>
                </a:lnTo>
                <a:lnTo>
                  <a:pt x="922045" y="107124"/>
                </a:lnTo>
                <a:lnTo>
                  <a:pt x="931760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599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80" y="105181"/>
                </a:lnTo>
                <a:lnTo>
                  <a:pt x="766208" y="105572"/>
                </a:lnTo>
                <a:lnTo>
                  <a:pt x="774509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51" y="106070"/>
                </a:lnTo>
                <a:lnTo>
                  <a:pt x="813473" y="104305"/>
                </a:lnTo>
                <a:lnTo>
                  <a:pt x="822680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6" y="70777"/>
                </a:lnTo>
                <a:lnTo>
                  <a:pt x="822579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6" y="70777"/>
                </a:moveTo>
                <a:lnTo>
                  <a:pt x="795642" y="70777"/>
                </a:lnTo>
                <a:lnTo>
                  <a:pt x="798715" y="71424"/>
                </a:lnTo>
                <a:lnTo>
                  <a:pt x="801827" y="74028"/>
                </a:lnTo>
                <a:lnTo>
                  <a:pt x="802601" y="76631"/>
                </a:lnTo>
                <a:lnTo>
                  <a:pt x="802601" y="84645"/>
                </a:lnTo>
                <a:lnTo>
                  <a:pt x="801827" y="87325"/>
                </a:lnTo>
                <a:lnTo>
                  <a:pt x="798715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6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38" y="126352"/>
                </a:lnTo>
                <a:lnTo>
                  <a:pt x="673836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79" y="70734"/>
                </a:lnTo>
                <a:lnTo>
                  <a:pt x="670132" y="80381"/>
                </a:lnTo>
                <a:lnTo>
                  <a:pt x="667080" y="89255"/>
                </a:lnTo>
                <a:lnTo>
                  <a:pt x="686612" y="89255"/>
                </a:lnTo>
                <a:lnTo>
                  <a:pt x="696277" y="48488"/>
                </a:lnTo>
                <a:lnTo>
                  <a:pt x="698779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28" y="31102"/>
                </a:lnTo>
                <a:lnTo>
                  <a:pt x="573328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22" y="106984"/>
                </a:lnTo>
                <a:lnTo>
                  <a:pt x="515684" y="106166"/>
                </a:lnTo>
                <a:lnTo>
                  <a:pt x="522889" y="103711"/>
                </a:lnTo>
                <a:lnTo>
                  <a:pt x="529433" y="99623"/>
                </a:lnTo>
                <a:lnTo>
                  <a:pt x="535317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17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02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56" y="28994"/>
                </a:lnTo>
                <a:lnTo>
                  <a:pt x="516521" y="29220"/>
                </a:lnTo>
                <a:lnTo>
                  <a:pt x="506998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43" y="47637"/>
                </a:lnTo>
                <a:lnTo>
                  <a:pt x="498564" y="47104"/>
                </a:lnTo>
                <a:lnTo>
                  <a:pt x="506814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67" y="39141"/>
                </a:lnTo>
                <a:lnTo>
                  <a:pt x="543255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0" y="82222"/>
                </a:lnTo>
                <a:lnTo>
                  <a:pt x="428942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51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39" y="133718"/>
                </a:lnTo>
                <a:lnTo>
                  <a:pt x="331139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27" y="99910"/>
                </a:lnTo>
                <a:lnTo>
                  <a:pt x="376961" y="98640"/>
                </a:lnTo>
                <a:lnTo>
                  <a:pt x="379985" y="93590"/>
                </a:lnTo>
                <a:lnTo>
                  <a:pt x="380955" y="90601"/>
                </a:lnTo>
                <a:lnTo>
                  <a:pt x="344563" y="90601"/>
                </a:lnTo>
                <a:lnTo>
                  <a:pt x="338950" y="89598"/>
                </a:lnTo>
                <a:lnTo>
                  <a:pt x="331139" y="87591"/>
                </a:lnTo>
                <a:lnTo>
                  <a:pt x="331139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66" y="46583"/>
                </a:lnTo>
                <a:lnTo>
                  <a:pt x="378555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27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51" y="104305"/>
                </a:lnTo>
                <a:lnTo>
                  <a:pt x="375927" y="99910"/>
                </a:lnTo>
                <a:close/>
              </a:path>
              <a:path w="1039494" h="136525">
                <a:moveTo>
                  <a:pt x="380366" y="46583"/>
                </a:moveTo>
                <a:lnTo>
                  <a:pt x="353771" y="46583"/>
                </a:lnTo>
                <a:lnTo>
                  <a:pt x="356781" y="48107"/>
                </a:lnTo>
                <a:lnTo>
                  <a:pt x="360184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08" y="83591"/>
                </a:lnTo>
                <a:lnTo>
                  <a:pt x="356400" y="89204"/>
                </a:lnTo>
                <a:lnTo>
                  <a:pt x="352971" y="90601"/>
                </a:lnTo>
                <a:lnTo>
                  <a:pt x="380955" y="90601"/>
                </a:lnTo>
                <a:lnTo>
                  <a:pt x="382144" y="86936"/>
                </a:lnTo>
                <a:lnTo>
                  <a:pt x="383438" y="78679"/>
                </a:lnTo>
                <a:lnTo>
                  <a:pt x="383870" y="68821"/>
                </a:lnTo>
                <a:lnTo>
                  <a:pt x="382265" y="51469"/>
                </a:lnTo>
                <a:lnTo>
                  <a:pt x="380366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40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55" y="41922"/>
                </a:lnTo>
                <a:lnTo>
                  <a:pt x="377448" y="39074"/>
                </a:lnTo>
                <a:lnTo>
                  <a:pt x="369420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14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14" y="133718"/>
                </a:lnTo>
                <a:lnTo>
                  <a:pt x="253314" y="106680"/>
                </a:lnTo>
                <a:lnTo>
                  <a:pt x="263358" y="105467"/>
                </a:lnTo>
                <a:lnTo>
                  <a:pt x="288514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06" y="45377"/>
                </a:lnTo>
                <a:lnTo>
                  <a:pt x="288229" y="44980"/>
                </a:lnTo>
                <a:lnTo>
                  <a:pt x="253314" y="29298"/>
                </a:lnTo>
                <a:lnTo>
                  <a:pt x="253314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06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14" y="54686"/>
                </a:lnTo>
                <a:lnTo>
                  <a:pt x="272237" y="60299"/>
                </a:lnTo>
                <a:lnTo>
                  <a:pt x="272237" y="76034"/>
                </a:lnTo>
                <a:lnTo>
                  <a:pt x="270814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14" y="90601"/>
                </a:lnTo>
                <a:lnTo>
                  <a:pt x="291114" y="84855"/>
                </a:lnTo>
                <a:lnTo>
                  <a:pt x="292844" y="77182"/>
                </a:lnTo>
                <a:lnTo>
                  <a:pt x="293420" y="68211"/>
                </a:lnTo>
                <a:lnTo>
                  <a:pt x="292844" y="59172"/>
                </a:lnTo>
                <a:lnTo>
                  <a:pt x="291114" y="51428"/>
                </a:lnTo>
                <a:lnTo>
                  <a:pt x="288406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25" y="31102"/>
                </a:lnTo>
                <a:lnTo>
                  <a:pt x="105625" y="105181"/>
                </a:lnTo>
                <a:lnTo>
                  <a:pt x="124548" y="105181"/>
                </a:lnTo>
                <a:lnTo>
                  <a:pt x="141237" y="81584"/>
                </a:lnTo>
                <a:lnTo>
                  <a:pt x="124548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37" y="81584"/>
                </a:lnTo>
                <a:lnTo>
                  <a:pt x="152501" y="65659"/>
                </a:lnTo>
                <a:lnTo>
                  <a:pt x="155105" y="61950"/>
                </a:lnTo>
                <a:lnTo>
                  <a:pt x="156959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391" y="1498"/>
                </a:lnTo>
                <a:lnTo>
                  <a:pt x="57391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2D3FD7D1-B59D-4C9B-9AA0-3B7EE1647DE2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1" name="object 23">
            <a:extLst>
              <a:ext uri="{FF2B5EF4-FFF2-40B4-BE49-F238E27FC236}">
                <a16:creationId xmlns:a16="http://schemas.microsoft.com/office/drawing/2014/main" id="{7DCFAA27-5B05-4792-940B-01C87B209BA7}"/>
              </a:ext>
            </a:extLst>
          </p:cNvPr>
          <p:cNvSpPr/>
          <p:nvPr/>
        </p:nvSpPr>
        <p:spPr>
          <a:xfrm>
            <a:off x="191344" y="188640"/>
            <a:ext cx="409359" cy="500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2" name="Google Shape;506;p39">
            <a:extLst>
              <a:ext uri="{FF2B5EF4-FFF2-40B4-BE49-F238E27FC236}">
                <a16:creationId xmlns:a16="http://schemas.microsoft.com/office/drawing/2014/main" id="{B8869A31-2CF6-45CC-B7D7-362656423096}"/>
              </a:ext>
            </a:extLst>
          </p:cNvPr>
          <p:cNvSpPr txBox="1"/>
          <p:nvPr/>
        </p:nvSpPr>
        <p:spPr>
          <a:xfrm>
            <a:off x="2004270" y="266445"/>
            <a:ext cx="9412200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41C32"/>
              </a:buClr>
              <a:buSzPts val="2200"/>
            </a:pPr>
            <a:r>
              <a:rPr lang="ru-RU" sz="2200" b="1" dirty="0" err="1">
                <a:solidFill>
                  <a:srgbClr val="041C32"/>
                </a:solidFill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Тұрғын</a:t>
            </a:r>
            <a:r>
              <a:rPr lang="ru-RU" sz="2200" b="1" dirty="0">
                <a:solidFill>
                  <a:srgbClr val="041C32"/>
                </a:solidFill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2200" b="1" dirty="0" err="1">
                <a:solidFill>
                  <a:srgbClr val="041C32"/>
                </a:solidFill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үй-коммуналдық</a:t>
            </a:r>
            <a:r>
              <a:rPr lang="ru-RU" sz="2200" b="1" dirty="0">
                <a:solidFill>
                  <a:srgbClr val="041C32"/>
                </a:solidFill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2200" b="1" dirty="0" err="1">
                <a:solidFill>
                  <a:srgbClr val="041C32"/>
                </a:solidFill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шаруашылық</a:t>
            </a:r>
            <a:endParaRPr lang="ru-RU" sz="2200" b="1" dirty="0">
              <a:solidFill>
                <a:srgbClr val="041C32"/>
              </a:solidFill>
              <a:latin typeface="Century Gothic" panose="020B0502020202020204" pitchFamily="34" charset="0"/>
              <a:ea typeface="Tahoma"/>
              <a:cs typeface="Tahoma"/>
              <a:sym typeface="Tahoma"/>
            </a:endParaRPr>
          </a:p>
        </p:txBody>
      </p:sp>
      <p:sp>
        <p:nvSpPr>
          <p:cNvPr id="23" name="Google Shape;1453;p45">
            <a:extLst>
              <a:ext uri="{FF2B5EF4-FFF2-40B4-BE49-F238E27FC236}">
                <a16:creationId xmlns:a16="http://schemas.microsoft.com/office/drawing/2014/main" id="{813E386F-A76D-4E69-A5DB-07416BADEC82}"/>
              </a:ext>
            </a:extLst>
          </p:cNvPr>
          <p:cNvSpPr txBox="1"/>
          <p:nvPr/>
        </p:nvSpPr>
        <p:spPr>
          <a:xfrm>
            <a:off x="478148" y="1051685"/>
            <a:ext cx="154770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>
              <a:buClr>
                <a:schemeClr val="lt1"/>
              </a:buClr>
              <a:buSzPts val="800"/>
            </a:pPr>
            <a:r>
              <a:rPr lang="ru-RU" sz="800" b="1" dirty="0">
                <a:solidFill>
                  <a:schemeClr val="lt1"/>
                </a:solidFill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Установка видеокамер в рамках создания единой системы видеомониторинга</a:t>
            </a:r>
            <a:endParaRPr lang="ru-RU" sz="800" dirty="0">
              <a:latin typeface="Century Gothic" panose="020B0502020202020204" pitchFamily="34" charset="0"/>
            </a:endParaRPr>
          </a:p>
        </p:txBody>
      </p:sp>
      <p:sp>
        <p:nvSpPr>
          <p:cNvPr id="27" name="Google Shape;1535;p45">
            <a:extLst>
              <a:ext uri="{FF2B5EF4-FFF2-40B4-BE49-F238E27FC236}">
                <a16:creationId xmlns:a16="http://schemas.microsoft.com/office/drawing/2014/main" id="{60BF613C-9AFF-4CD6-A5D6-E8AB5C12C1D6}"/>
              </a:ext>
            </a:extLst>
          </p:cNvPr>
          <p:cNvSpPr/>
          <p:nvPr/>
        </p:nvSpPr>
        <p:spPr>
          <a:xfrm rot="5400000">
            <a:off x="143210" y="1299398"/>
            <a:ext cx="538200" cy="15390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Google Shape;1536;p45">
            <a:extLst>
              <a:ext uri="{FF2B5EF4-FFF2-40B4-BE49-F238E27FC236}">
                <a16:creationId xmlns:a16="http://schemas.microsoft.com/office/drawing/2014/main" id="{77686A16-ECF5-4CF5-94A2-247599248586}"/>
              </a:ext>
            </a:extLst>
          </p:cNvPr>
          <p:cNvSpPr/>
          <p:nvPr/>
        </p:nvSpPr>
        <p:spPr>
          <a:xfrm rot="5400000">
            <a:off x="1935625" y="1307335"/>
            <a:ext cx="538200" cy="15390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Google Shape;1537;p45">
            <a:extLst>
              <a:ext uri="{FF2B5EF4-FFF2-40B4-BE49-F238E27FC236}">
                <a16:creationId xmlns:a16="http://schemas.microsoft.com/office/drawing/2014/main" id="{3A340A6A-373D-48CF-94DB-8E67A9B33D12}"/>
              </a:ext>
            </a:extLst>
          </p:cNvPr>
          <p:cNvSpPr/>
          <p:nvPr/>
        </p:nvSpPr>
        <p:spPr>
          <a:xfrm rot="5400000">
            <a:off x="3284836" y="1314522"/>
            <a:ext cx="538200" cy="15390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Google Shape;1538;p45">
            <a:extLst>
              <a:ext uri="{FF2B5EF4-FFF2-40B4-BE49-F238E27FC236}">
                <a16:creationId xmlns:a16="http://schemas.microsoft.com/office/drawing/2014/main" id="{2C4CC083-175F-4375-B39A-6D4AFEFD52B5}"/>
              </a:ext>
            </a:extLst>
          </p:cNvPr>
          <p:cNvSpPr/>
          <p:nvPr/>
        </p:nvSpPr>
        <p:spPr>
          <a:xfrm rot="5400000">
            <a:off x="4842189" y="1305110"/>
            <a:ext cx="538200" cy="153900"/>
          </a:xfrm>
          <a:prstGeom prst="triangle">
            <a:avLst>
              <a:gd name="adj" fmla="val 50000"/>
            </a:avLst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Google Shape;1539;p45">
            <a:extLst>
              <a:ext uri="{FF2B5EF4-FFF2-40B4-BE49-F238E27FC236}">
                <a16:creationId xmlns:a16="http://schemas.microsoft.com/office/drawing/2014/main" id="{60099B30-5D67-4129-AEB8-354409D00D68}"/>
              </a:ext>
            </a:extLst>
          </p:cNvPr>
          <p:cNvSpPr txBox="1"/>
          <p:nvPr/>
        </p:nvSpPr>
        <p:spPr>
          <a:xfrm>
            <a:off x="6378086" y="1122372"/>
            <a:ext cx="4876861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chemeClr val="lt1"/>
              </a:buClr>
              <a:buSzPts val="800"/>
            </a:pP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оммуналдық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ызметтерді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еткізушілердің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тұтынушылармен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өзара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іс-қимыл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асау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сервисі</a:t>
            </a:r>
            <a:r>
              <a:rPr lang="ru-RU" sz="16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«Сервис»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544530FD-D532-454D-A83C-B87BA859BF98}"/>
              </a:ext>
            </a:extLst>
          </p:cNvPr>
          <p:cNvSpPr/>
          <p:nvPr/>
        </p:nvSpPr>
        <p:spPr>
          <a:xfrm>
            <a:off x="531767" y="1279924"/>
            <a:ext cx="573298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525" marR="3810" algn="ctr">
              <a:spcBef>
                <a:spcPts val="75"/>
              </a:spcBef>
            </a:pPr>
            <a:r>
              <a:rPr lang="ru-RU" sz="1600" b="1" spc="-15" dirty="0">
                <a:latin typeface="Century Gothic" panose="020B0502020202020204" pitchFamily="34" charset="0"/>
              </a:rPr>
              <a:t>АДБ-мен «</a:t>
            </a:r>
            <a:r>
              <a:rPr lang="ru-RU" sz="1600" b="1" spc="-15" dirty="0" err="1">
                <a:latin typeface="Century Gothic" panose="020B0502020202020204" pitchFamily="34" charset="0"/>
              </a:rPr>
              <a:t>ақылды</a:t>
            </a:r>
            <a:r>
              <a:rPr lang="ru-RU" sz="1600" b="1" spc="-15" dirty="0">
                <a:latin typeface="Century Gothic" panose="020B0502020202020204" pitchFamily="34" charset="0"/>
              </a:rPr>
              <a:t>» </a:t>
            </a:r>
            <a:r>
              <a:rPr lang="ru-RU" sz="1600" b="1" spc="-15" dirty="0" err="1">
                <a:latin typeface="Century Gothic" panose="020B0502020202020204" pitchFamily="34" charset="0"/>
              </a:rPr>
              <a:t>санауыштар</a:t>
            </a:r>
            <a:r>
              <a:rPr lang="ru-RU" sz="1600" b="1" spc="-15" dirty="0">
                <a:latin typeface="Century Gothic" panose="020B0502020202020204" pitchFamily="34" charset="0"/>
              </a:rPr>
              <a:t> </a:t>
            </a:r>
            <a:r>
              <a:rPr lang="ru-RU" sz="1600" b="1" spc="-15" dirty="0" err="1">
                <a:latin typeface="Century Gothic" panose="020B0502020202020204" pitchFamily="34" charset="0"/>
              </a:rPr>
              <a:t>жобасын</a:t>
            </a:r>
            <a:r>
              <a:rPr lang="ru-RU" sz="1600" b="1" spc="-15" dirty="0">
                <a:latin typeface="Century Gothic" panose="020B0502020202020204" pitchFamily="34" charset="0"/>
              </a:rPr>
              <a:t> </a:t>
            </a:r>
            <a:r>
              <a:rPr lang="ru-RU" sz="1600" b="1" spc="-15" dirty="0" err="1">
                <a:latin typeface="Century Gothic" panose="020B0502020202020204" pitchFamily="34" charset="0"/>
              </a:rPr>
              <a:t>іске</a:t>
            </a:r>
            <a:r>
              <a:rPr lang="ru-RU" sz="1600" b="1" spc="-15" dirty="0">
                <a:latin typeface="Century Gothic" panose="020B0502020202020204" pitchFamily="34" charset="0"/>
              </a:rPr>
              <a:t> </a:t>
            </a:r>
            <a:r>
              <a:rPr lang="ru-RU" sz="1600" b="1" spc="-15" dirty="0" err="1">
                <a:latin typeface="Century Gothic" panose="020B0502020202020204" pitchFamily="34" charset="0"/>
              </a:rPr>
              <a:t>асыру</a:t>
            </a:r>
            <a:endParaRPr lang="ru-RU" sz="1600" b="1" spc="-15" dirty="0">
              <a:latin typeface="Century Gothic" panose="020B0502020202020204" pitchFamily="34" charset="0"/>
            </a:endParaRPr>
          </a:p>
        </p:txBody>
      </p:sp>
      <p:pic>
        <p:nvPicPr>
          <p:cNvPr id="52" name="Picture 4" descr="счетчик PNG рисунок, картинки и пнг прозрачный для бесплатной загрузки |  Pngtree">
            <a:extLst>
              <a:ext uri="{FF2B5EF4-FFF2-40B4-BE49-F238E27FC236}">
                <a16:creationId xmlns:a16="http://schemas.microsoft.com/office/drawing/2014/main" id="{5EDD86C4-E518-4CDE-B91C-F594F984DD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208" y="1650606"/>
            <a:ext cx="1280101" cy="915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" descr="ЖКХ">
            <a:extLst>
              <a:ext uri="{FF2B5EF4-FFF2-40B4-BE49-F238E27FC236}">
                <a16:creationId xmlns:a16="http://schemas.microsoft.com/office/drawing/2014/main" id="{ECCE27BB-BF0D-4B56-AD10-04CD45F5A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7322" y="1970537"/>
            <a:ext cx="1091957" cy="915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96FBD032-F73C-4EE3-8451-0F5A0C751302}"/>
              </a:ext>
            </a:extLst>
          </p:cNvPr>
          <p:cNvSpPr txBox="1"/>
          <p:nvPr/>
        </p:nvSpPr>
        <p:spPr>
          <a:xfrm>
            <a:off x="6024106" y="2963975"/>
            <a:ext cx="606350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err="1">
                <a:latin typeface="Century Gothic" panose="020B0502020202020204" pitchFamily="34" charset="0"/>
              </a:rPr>
              <a:t>Коммуналдық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ызметтерді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пилоттық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режимде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сервиске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осу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ұмыс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асталды</a:t>
            </a:r>
            <a:r>
              <a:rPr lang="ru-RU" sz="1400" dirty="0">
                <a:latin typeface="Century Gothic" panose="020B0502020202020204" pitchFamily="34" charset="0"/>
              </a:rPr>
              <a:t>. </a:t>
            </a:r>
            <a:r>
              <a:rPr lang="ru-RU" sz="1400" dirty="0" err="1">
                <a:latin typeface="Century Gothic" panose="020B0502020202020204" pitchFamily="34" charset="0"/>
              </a:rPr>
              <a:t>Пилотты</a:t>
            </a:r>
            <a:r>
              <a:rPr lang="kk-KZ" sz="1400" dirty="0">
                <a:latin typeface="Century Gothic" panose="020B0502020202020204" pitchFamily="34" charset="0"/>
              </a:rPr>
              <a:t>қ жоба </a:t>
            </a:r>
            <a:r>
              <a:rPr lang="ru-RU" sz="1400" dirty="0">
                <a:latin typeface="Century Gothic" panose="020B0502020202020204" pitchFamily="34" charset="0"/>
              </a:rPr>
              <a:t>«Алматы Су» </a:t>
            </a:r>
            <a:br>
              <a:rPr lang="ru-RU" sz="1400" dirty="0">
                <a:latin typeface="Century Gothic" panose="020B0502020202020204" pitchFamily="34" charset="0"/>
              </a:rPr>
            </a:br>
            <a:r>
              <a:rPr lang="ru-RU" sz="1400" dirty="0">
                <a:latin typeface="Century Gothic" panose="020B0502020202020204" pitchFamily="34" charset="0"/>
              </a:rPr>
              <a:t>МКК-мен </a:t>
            </a:r>
            <a:r>
              <a:rPr lang="ru-RU" sz="1400" dirty="0" err="1">
                <a:latin typeface="Century Gothic" panose="020B0502020202020204" pitchFamily="34" charset="0"/>
              </a:rPr>
              <a:t>басталды</a:t>
            </a:r>
            <a:r>
              <a:rPr lang="ru-RU" sz="1400" dirty="0">
                <a:latin typeface="Century Gothic" panose="020B0502020202020204" pitchFamily="34" charset="0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err="1">
                <a:latin typeface="Century Gothic" panose="020B0502020202020204" pitchFamily="34" charset="0"/>
              </a:rPr>
              <a:t>Ағымдағ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ылдың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соңын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дейін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арлық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коммуналдық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ызметтерді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сервиске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осу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оспарлануда</a:t>
            </a:r>
            <a:r>
              <a:rPr lang="ru-RU" sz="1400" dirty="0">
                <a:latin typeface="Century Gothic" panose="020B0502020202020204" pitchFamily="34" charset="0"/>
              </a:rPr>
              <a:t>.</a:t>
            </a:r>
            <a:endParaRPr lang="ru-KZ" sz="1200" dirty="0">
              <a:latin typeface="Century Gothic" panose="020B0502020202020204" pitchFamily="34" charset="0"/>
            </a:endParaRPr>
          </a:p>
          <a:p>
            <a:endParaRPr lang="ru-KZ" sz="12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2" name="object 10">
            <a:extLst>
              <a:ext uri="{FF2B5EF4-FFF2-40B4-BE49-F238E27FC236}">
                <a16:creationId xmlns:a16="http://schemas.microsoft.com/office/drawing/2014/main" id="{5E5C3F2C-ECAF-4E88-9764-4C68CCE7AA38}"/>
              </a:ext>
            </a:extLst>
          </p:cNvPr>
          <p:cNvSpPr/>
          <p:nvPr/>
        </p:nvSpPr>
        <p:spPr>
          <a:xfrm>
            <a:off x="768430" y="5732931"/>
            <a:ext cx="3235211" cy="45719"/>
          </a:xfrm>
          <a:custGeom>
            <a:avLst/>
            <a:gdLst/>
            <a:ahLst/>
            <a:cxnLst/>
            <a:rect l="l" t="t" r="r" b="b"/>
            <a:pathLst>
              <a:path w="5373370">
                <a:moveTo>
                  <a:pt x="0" y="0"/>
                </a:moveTo>
                <a:lnTo>
                  <a:pt x="5373116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3" name="object 13">
            <a:extLst>
              <a:ext uri="{FF2B5EF4-FFF2-40B4-BE49-F238E27FC236}">
                <a16:creationId xmlns:a16="http://schemas.microsoft.com/office/drawing/2014/main" id="{A9B61722-806E-43F4-812B-9FC875C21E9D}"/>
              </a:ext>
            </a:extLst>
          </p:cNvPr>
          <p:cNvSpPr/>
          <p:nvPr/>
        </p:nvSpPr>
        <p:spPr>
          <a:xfrm>
            <a:off x="7883841" y="5705451"/>
            <a:ext cx="4001550" cy="69641"/>
          </a:xfrm>
          <a:custGeom>
            <a:avLst/>
            <a:gdLst/>
            <a:ahLst/>
            <a:cxnLst/>
            <a:rect l="l" t="t" r="r" b="b"/>
            <a:pathLst>
              <a:path w="5375275">
                <a:moveTo>
                  <a:pt x="0" y="0"/>
                </a:moveTo>
                <a:lnTo>
                  <a:pt x="5374893" y="0"/>
                </a:lnTo>
              </a:path>
            </a:pathLst>
          </a:custGeom>
          <a:ln w="19812">
            <a:solidFill>
              <a:srgbClr val="116EC3"/>
            </a:solidFill>
          </a:ln>
        </p:spPr>
        <p:txBody>
          <a:bodyPr wrap="square" lIns="0" tIns="0" rIns="0" bIns="0" rtlCol="0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5" name="Google Shape;617;p39">
            <a:extLst>
              <a:ext uri="{FF2B5EF4-FFF2-40B4-BE49-F238E27FC236}">
                <a16:creationId xmlns:a16="http://schemas.microsoft.com/office/drawing/2014/main" id="{2555F08E-ADE8-4C75-8C36-609DDC470DDE}"/>
              </a:ext>
            </a:extLst>
          </p:cNvPr>
          <p:cNvSpPr/>
          <p:nvPr/>
        </p:nvSpPr>
        <p:spPr>
          <a:xfrm>
            <a:off x="4030219" y="5695031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" name="Google Shape;499;p39">
            <a:extLst>
              <a:ext uri="{FF2B5EF4-FFF2-40B4-BE49-F238E27FC236}">
                <a16:creationId xmlns:a16="http://schemas.microsoft.com/office/drawing/2014/main" id="{C8C10C48-A555-4A7B-A70F-5A8544934E84}"/>
              </a:ext>
            </a:extLst>
          </p:cNvPr>
          <p:cNvSpPr txBox="1"/>
          <p:nvPr/>
        </p:nvSpPr>
        <p:spPr>
          <a:xfrm>
            <a:off x="1964567" y="5850898"/>
            <a:ext cx="8211242" cy="4308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>
              <a:buClr>
                <a:srgbClr val="0070C0"/>
              </a:buClr>
              <a:buSzPts val="1000"/>
            </a:pP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арлық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оммуналдық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ызметтерді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сервиске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осуд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аяқтау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. АДБ-мен «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ақылды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»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санауыштар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обасын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іске</a:t>
            </a:r>
            <a:r>
              <a:rPr lang="ru-RU" sz="11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1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асыру</a:t>
            </a:r>
            <a:endParaRPr lang="ru-RU" sz="1100" b="1" dirty="0">
              <a:latin typeface="Century Gothic" panose="020B0502020202020204" pitchFamily="34" charset="0"/>
              <a:ea typeface="Tahoma"/>
              <a:cs typeface="Tahoma"/>
              <a:sym typeface="Tahoma"/>
            </a:endParaRPr>
          </a:p>
        </p:txBody>
      </p:sp>
      <p:sp>
        <p:nvSpPr>
          <p:cNvPr id="68" name="object 16">
            <a:extLst>
              <a:ext uri="{FF2B5EF4-FFF2-40B4-BE49-F238E27FC236}">
                <a16:creationId xmlns:a16="http://schemas.microsoft.com/office/drawing/2014/main" id="{EC6523AF-9DF0-49B5-A44E-8A74789D95D3}"/>
              </a:ext>
            </a:extLst>
          </p:cNvPr>
          <p:cNvSpPr txBox="1"/>
          <p:nvPr/>
        </p:nvSpPr>
        <p:spPr>
          <a:xfrm>
            <a:off x="1339410" y="5390532"/>
            <a:ext cx="9169463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algn="ctr">
              <a:lnSpc>
                <a:spcPct val="100000"/>
              </a:lnSpc>
              <a:spcBef>
                <a:spcPts val="100"/>
              </a:spcBef>
            </a:pPr>
            <a:endParaRPr lang="ru-RU" sz="1200" spc="-15" dirty="0">
              <a:solidFill>
                <a:srgbClr val="116EC3"/>
              </a:solidFill>
              <a:latin typeface="Century Gothic" panose="020B0502020202020204" pitchFamily="34" charset="0"/>
              <a:cs typeface="Myanmar Text" panose="020B0502040204020203" pitchFamily="34" charset="0"/>
            </a:endParaRPr>
          </a:p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202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жылдың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2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тоқсанына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арналған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</a:t>
            </a:r>
            <a:r>
              <a:rPr lang="ru-RU" sz="1200" spc="-15" dirty="0" err="1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міндеттер</a:t>
            </a:r>
            <a:r>
              <a:rPr lang="ru-RU" sz="1200" spc="-15" dirty="0">
                <a:solidFill>
                  <a:srgbClr val="116EC3"/>
                </a:solidFill>
                <a:latin typeface="Century Gothic" panose="020B0502020202020204" pitchFamily="34" charset="0"/>
                <a:cs typeface="Myanmar Text" panose="020B0502040204020203" pitchFamily="34" charset="0"/>
              </a:rPr>
              <a:t>                               </a:t>
            </a:r>
            <a:endParaRPr sz="1200" dirty="0">
              <a:solidFill>
                <a:srgbClr val="116EC3"/>
              </a:solidFill>
              <a:latin typeface="Century Gothic" panose="020B0502020202020204" pitchFamily="34" charset="0"/>
              <a:cs typeface="Myanmar Text" panose="020B0502040204020203" pitchFamily="34" charset="0"/>
            </a:endParaRPr>
          </a:p>
        </p:txBody>
      </p:sp>
      <p:sp>
        <p:nvSpPr>
          <p:cNvPr id="69" name="object 7">
            <a:extLst>
              <a:ext uri="{FF2B5EF4-FFF2-40B4-BE49-F238E27FC236}">
                <a16:creationId xmlns:a16="http://schemas.microsoft.com/office/drawing/2014/main" id="{584DF253-ADAE-49B1-BFAD-5A9304304D9C}"/>
              </a:ext>
            </a:extLst>
          </p:cNvPr>
          <p:cNvSpPr txBox="1"/>
          <p:nvPr/>
        </p:nvSpPr>
        <p:spPr>
          <a:xfrm>
            <a:off x="1616923" y="2687500"/>
            <a:ext cx="3874025" cy="125444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352425" marR="3810" indent="-342900">
              <a:lnSpc>
                <a:spcPct val="113900"/>
              </a:lnSpc>
              <a:spcBef>
                <a:spcPts val="75"/>
              </a:spcBef>
              <a:buFont typeface="Wingdings" panose="05000000000000000000" pitchFamily="2" charset="2"/>
              <a:buChar char="ü"/>
            </a:pP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АДБ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компаниясыме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ексеру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команда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құрылд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352425" marR="3810" indent="-342900">
              <a:lnSpc>
                <a:spcPct val="113900"/>
              </a:lnSpc>
              <a:spcBef>
                <a:spcPts val="75"/>
              </a:spcBef>
              <a:buFont typeface="Wingdings" panose="05000000000000000000" pitchFamily="2" charset="2"/>
              <a:buChar char="ü"/>
            </a:pP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оба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міндеттерін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елгілеу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бекітіл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352425" marR="3810" indent="-342900">
              <a:lnSpc>
                <a:spcPct val="113900"/>
              </a:lnSpc>
              <a:spcBef>
                <a:spcPts val="75"/>
              </a:spcBef>
              <a:buFont typeface="Wingdings" panose="05000000000000000000" pitchFamily="2" charset="2"/>
              <a:buChar char="ü"/>
            </a:pP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ұмыс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жоспар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дайындалды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;</a:t>
            </a:r>
          </a:p>
          <a:p>
            <a:pPr marL="352425" marR="3810" indent="-342900">
              <a:lnSpc>
                <a:spcPct val="113900"/>
              </a:lnSpc>
              <a:spcBef>
                <a:spcPts val="75"/>
              </a:spcBef>
              <a:buFont typeface="Wingdings" panose="05000000000000000000" pitchFamily="2" charset="2"/>
              <a:buChar char="ü"/>
            </a:pP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Әкімге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таныстырылым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Foundry Monoline OT3"/>
              </a:rPr>
              <a:t>өткізілді</a:t>
            </a:r>
            <a:r>
              <a:rPr lang="ru-RU" sz="1400" dirty="0">
                <a:latin typeface="Century Gothic" panose="020B0502020202020204" pitchFamily="34" charset="0"/>
                <a:cs typeface="Foundry Monoline OT3"/>
              </a:rPr>
              <a:t>.</a:t>
            </a:r>
          </a:p>
        </p:txBody>
      </p:sp>
      <p:sp>
        <p:nvSpPr>
          <p:cNvPr id="34" name="Google Shape;617;p39">
            <a:extLst>
              <a:ext uri="{FF2B5EF4-FFF2-40B4-BE49-F238E27FC236}">
                <a16:creationId xmlns:a16="http://schemas.microsoft.com/office/drawing/2014/main" id="{2246B62C-F96A-4F23-8E79-9D545EA2AC6C}"/>
              </a:ext>
            </a:extLst>
          </p:cNvPr>
          <p:cNvSpPr/>
          <p:nvPr/>
        </p:nvSpPr>
        <p:spPr>
          <a:xfrm>
            <a:off x="7783915" y="5666852"/>
            <a:ext cx="99926" cy="99926"/>
          </a:xfrm>
          <a:prstGeom prst="ellipse">
            <a:avLst/>
          </a:prstGeom>
          <a:solidFill>
            <a:srgbClr val="116EC3"/>
          </a:solidFill>
          <a:ln w="19050" cap="flat" cmpd="sng">
            <a:solidFill>
              <a:srgbClr val="116EC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963548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22">
            <a:extLst>
              <a:ext uri="{FF2B5EF4-FFF2-40B4-BE49-F238E27FC236}">
                <a16:creationId xmlns:a16="http://schemas.microsoft.com/office/drawing/2014/main" id="{B150ED6A-BF6F-481E-ABEA-ACA6CD95DE59}"/>
              </a:ext>
            </a:extLst>
          </p:cNvPr>
          <p:cNvSpPr/>
          <p:nvPr/>
        </p:nvSpPr>
        <p:spPr>
          <a:xfrm>
            <a:off x="179997" y="179997"/>
            <a:ext cx="11832590" cy="6498590"/>
          </a:xfrm>
          <a:custGeom>
            <a:avLst/>
            <a:gdLst/>
            <a:ahLst/>
            <a:cxnLst/>
            <a:rect l="l" t="t" r="r" b="b"/>
            <a:pathLst>
              <a:path w="11832590" h="6498590">
                <a:moveTo>
                  <a:pt x="0" y="0"/>
                </a:moveTo>
                <a:lnTo>
                  <a:pt x="11832005" y="0"/>
                </a:lnTo>
                <a:lnTo>
                  <a:pt x="11832005" y="6498005"/>
                </a:lnTo>
                <a:lnTo>
                  <a:pt x="0" y="649800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EE3235"/>
            </a:solidFill>
          </a:ln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25" name="object 24">
            <a:extLst>
              <a:ext uri="{FF2B5EF4-FFF2-40B4-BE49-F238E27FC236}">
                <a16:creationId xmlns:a16="http://schemas.microsoft.com/office/drawing/2014/main" id="{81474F30-C797-43B0-A10A-2E6105038398}"/>
              </a:ext>
            </a:extLst>
          </p:cNvPr>
          <p:cNvSpPr/>
          <p:nvPr/>
        </p:nvSpPr>
        <p:spPr>
          <a:xfrm>
            <a:off x="768430" y="314360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96" y="20205"/>
                </a:moveTo>
                <a:lnTo>
                  <a:pt x="664641" y="20205"/>
                </a:lnTo>
                <a:lnTo>
                  <a:pt x="664641" y="68656"/>
                </a:lnTo>
                <a:lnTo>
                  <a:pt x="664933" y="68656"/>
                </a:lnTo>
                <a:lnTo>
                  <a:pt x="670039" y="69062"/>
                </a:lnTo>
                <a:lnTo>
                  <a:pt x="676935" y="69265"/>
                </a:lnTo>
                <a:lnTo>
                  <a:pt x="692073" y="69265"/>
                </a:lnTo>
                <a:lnTo>
                  <a:pt x="696607" y="68186"/>
                </a:lnTo>
                <a:lnTo>
                  <a:pt x="701916" y="63868"/>
                </a:lnTo>
                <a:lnTo>
                  <a:pt x="702343" y="62598"/>
                </a:lnTo>
                <a:lnTo>
                  <a:pt x="684339" y="62598"/>
                </a:lnTo>
                <a:lnTo>
                  <a:pt x="672896" y="62496"/>
                </a:lnTo>
                <a:lnTo>
                  <a:pt x="672896" y="45275"/>
                </a:lnTo>
                <a:lnTo>
                  <a:pt x="702162" y="45275"/>
                </a:lnTo>
                <a:lnTo>
                  <a:pt x="701890" y="44488"/>
                </a:lnTo>
                <a:lnTo>
                  <a:pt x="696442" y="40106"/>
                </a:lnTo>
                <a:lnTo>
                  <a:pt x="691502" y="39001"/>
                </a:lnTo>
                <a:lnTo>
                  <a:pt x="672896" y="39001"/>
                </a:lnTo>
                <a:lnTo>
                  <a:pt x="672896" y="20205"/>
                </a:lnTo>
                <a:close/>
              </a:path>
              <a:path w="720725" h="70484">
                <a:moveTo>
                  <a:pt x="702162" y="45275"/>
                </a:moveTo>
                <a:lnTo>
                  <a:pt x="688314" y="45275"/>
                </a:lnTo>
                <a:lnTo>
                  <a:pt x="691045" y="45885"/>
                </a:lnTo>
                <a:lnTo>
                  <a:pt x="693953" y="48348"/>
                </a:lnTo>
                <a:lnTo>
                  <a:pt x="694690" y="50584"/>
                </a:lnTo>
                <a:lnTo>
                  <a:pt x="694690" y="57353"/>
                </a:lnTo>
                <a:lnTo>
                  <a:pt x="693940" y="59689"/>
                </a:lnTo>
                <a:lnTo>
                  <a:pt x="690956" y="62014"/>
                </a:lnTo>
                <a:lnTo>
                  <a:pt x="688251" y="62598"/>
                </a:lnTo>
                <a:lnTo>
                  <a:pt x="702343" y="62598"/>
                </a:lnTo>
                <a:lnTo>
                  <a:pt x="703249" y="59905"/>
                </a:lnTo>
                <a:lnTo>
                  <a:pt x="703223" y="48348"/>
                </a:lnTo>
                <a:lnTo>
                  <a:pt x="702162" y="45275"/>
                </a:lnTo>
                <a:close/>
              </a:path>
              <a:path w="720725" h="70484">
                <a:moveTo>
                  <a:pt x="720661" y="20205"/>
                </a:moveTo>
                <a:lnTo>
                  <a:pt x="712101" y="20205"/>
                </a:lnTo>
                <a:lnTo>
                  <a:pt x="712101" y="68656"/>
                </a:lnTo>
                <a:lnTo>
                  <a:pt x="720661" y="68656"/>
                </a:lnTo>
                <a:lnTo>
                  <a:pt x="720661" y="20205"/>
                </a:lnTo>
                <a:close/>
              </a:path>
              <a:path w="720725" h="70484">
                <a:moveTo>
                  <a:pt x="642747" y="19011"/>
                </a:moveTo>
                <a:lnTo>
                  <a:pt x="628015" y="19011"/>
                </a:lnTo>
                <a:lnTo>
                  <a:pt x="622096" y="20916"/>
                </a:lnTo>
                <a:lnTo>
                  <a:pt x="615124" y="28549"/>
                </a:lnTo>
                <a:lnTo>
                  <a:pt x="613384" y="35090"/>
                </a:lnTo>
                <a:lnTo>
                  <a:pt x="613384" y="53733"/>
                </a:lnTo>
                <a:lnTo>
                  <a:pt x="615111" y="60324"/>
                </a:lnTo>
                <a:lnTo>
                  <a:pt x="622007" y="67944"/>
                </a:lnTo>
                <a:lnTo>
                  <a:pt x="627951" y="69862"/>
                </a:lnTo>
                <a:lnTo>
                  <a:pt x="642683" y="69862"/>
                </a:lnTo>
                <a:lnTo>
                  <a:pt x="648182" y="69024"/>
                </a:lnTo>
                <a:lnTo>
                  <a:pt x="652894" y="67373"/>
                </a:lnTo>
                <a:lnTo>
                  <a:pt x="652235" y="62699"/>
                </a:lnTo>
                <a:lnTo>
                  <a:pt x="631926" y="62699"/>
                </a:lnTo>
                <a:lnTo>
                  <a:pt x="627888" y="61404"/>
                </a:lnTo>
                <a:lnTo>
                  <a:pt x="623379" y="56222"/>
                </a:lnTo>
                <a:lnTo>
                  <a:pt x="622249" y="51409"/>
                </a:lnTo>
                <a:lnTo>
                  <a:pt x="622249" y="37414"/>
                </a:lnTo>
                <a:lnTo>
                  <a:pt x="623392" y="32638"/>
                </a:lnTo>
                <a:lnTo>
                  <a:pt x="627964" y="27470"/>
                </a:lnTo>
                <a:lnTo>
                  <a:pt x="631990" y="26174"/>
                </a:lnTo>
                <a:lnTo>
                  <a:pt x="651019" y="26174"/>
                </a:lnTo>
                <a:lnTo>
                  <a:pt x="651992" y="21297"/>
                </a:lnTo>
                <a:lnTo>
                  <a:pt x="647954" y="19773"/>
                </a:lnTo>
                <a:lnTo>
                  <a:pt x="642747" y="19011"/>
                </a:lnTo>
                <a:close/>
              </a:path>
              <a:path w="720725" h="70484">
                <a:moveTo>
                  <a:pt x="652094" y="61696"/>
                </a:moveTo>
                <a:lnTo>
                  <a:pt x="647915" y="62356"/>
                </a:lnTo>
                <a:lnTo>
                  <a:pt x="643140" y="62699"/>
                </a:lnTo>
                <a:lnTo>
                  <a:pt x="652235" y="62699"/>
                </a:lnTo>
                <a:lnTo>
                  <a:pt x="652094" y="61696"/>
                </a:lnTo>
                <a:close/>
              </a:path>
              <a:path w="720725" h="70484">
                <a:moveTo>
                  <a:pt x="651019" y="26174"/>
                </a:moveTo>
                <a:lnTo>
                  <a:pt x="642150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9" y="26174"/>
                </a:lnTo>
                <a:close/>
              </a:path>
              <a:path w="720725" h="70484">
                <a:moveTo>
                  <a:pt x="599338" y="26174"/>
                </a:moveTo>
                <a:lnTo>
                  <a:pt x="585660" y="26174"/>
                </a:lnTo>
                <a:lnTo>
                  <a:pt x="588213" y="26796"/>
                </a:lnTo>
                <a:lnTo>
                  <a:pt x="590994" y="29324"/>
                </a:lnTo>
                <a:lnTo>
                  <a:pt x="591731" y="31483"/>
                </a:lnTo>
                <a:lnTo>
                  <a:pt x="591794" y="38811"/>
                </a:lnTo>
                <a:lnTo>
                  <a:pt x="567347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47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402" y="68681"/>
                </a:lnTo>
                <a:lnTo>
                  <a:pt x="587362" y="65163"/>
                </a:lnTo>
                <a:lnTo>
                  <a:pt x="590270" y="63093"/>
                </a:lnTo>
                <a:lnTo>
                  <a:pt x="590987" y="62356"/>
                </a:lnTo>
                <a:lnTo>
                  <a:pt x="576859" y="62356"/>
                </a:lnTo>
                <a:lnTo>
                  <a:pt x="574281" y="62293"/>
                </a:lnTo>
                <a:lnTo>
                  <a:pt x="571690" y="62293"/>
                </a:lnTo>
                <a:lnTo>
                  <a:pt x="569785" y="61709"/>
                </a:lnTo>
                <a:lnTo>
                  <a:pt x="567321" y="59385"/>
                </a:lnTo>
                <a:lnTo>
                  <a:pt x="566724" y="57543"/>
                </a:lnTo>
                <a:lnTo>
                  <a:pt x="566724" y="47701"/>
                </a:lnTo>
                <a:lnTo>
                  <a:pt x="568845" y="45478"/>
                </a:lnTo>
                <a:lnTo>
                  <a:pt x="573087" y="45275"/>
                </a:lnTo>
                <a:lnTo>
                  <a:pt x="600252" y="45275"/>
                </a:lnTo>
                <a:lnTo>
                  <a:pt x="600252" y="28892"/>
                </a:lnTo>
                <a:lnTo>
                  <a:pt x="599338" y="26174"/>
                </a:lnTo>
                <a:close/>
              </a:path>
              <a:path w="720725" h="70484">
                <a:moveTo>
                  <a:pt x="600252" y="60705"/>
                </a:moveTo>
                <a:lnTo>
                  <a:pt x="592594" y="60705"/>
                </a:lnTo>
                <a:lnTo>
                  <a:pt x="593585" y="68656"/>
                </a:lnTo>
                <a:lnTo>
                  <a:pt x="600252" y="68656"/>
                </a:lnTo>
                <a:lnTo>
                  <a:pt x="600252" y="60705"/>
                </a:lnTo>
                <a:close/>
              </a:path>
              <a:path w="720725" h="70484">
                <a:moveTo>
                  <a:pt x="600252" y="45275"/>
                </a:moveTo>
                <a:lnTo>
                  <a:pt x="591794" y="45275"/>
                </a:lnTo>
                <a:lnTo>
                  <a:pt x="591794" y="55029"/>
                </a:lnTo>
                <a:lnTo>
                  <a:pt x="589076" y="57416"/>
                </a:lnTo>
                <a:lnTo>
                  <a:pt x="586117" y="59245"/>
                </a:lnTo>
                <a:lnTo>
                  <a:pt x="579755" y="61760"/>
                </a:lnTo>
                <a:lnTo>
                  <a:pt x="576859" y="62356"/>
                </a:lnTo>
                <a:lnTo>
                  <a:pt x="590987" y="62356"/>
                </a:lnTo>
                <a:lnTo>
                  <a:pt x="592594" y="60705"/>
                </a:lnTo>
                <a:lnTo>
                  <a:pt x="600252" y="60705"/>
                </a:lnTo>
                <a:lnTo>
                  <a:pt x="600252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100" y="19011"/>
                </a:lnTo>
                <a:lnTo>
                  <a:pt x="569264" y="19735"/>
                </a:lnTo>
                <a:lnTo>
                  <a:pt x="560247" y="21196"/>
                </a:lnTo>
                <a:lnTo>
                  <a:pt x="561047" y="27470"/>
                </a:lnTo>
                <a:lnTo>
                  <a:pt x="570268" y="26606"/>
                </a:lnTo>
                <a:lnTo>
                  <a:pt x="577227" y="26174"/>
                </a:lnTo>
                <a:lnTo>
                  <a:pt x="599338" y="26174"/>
                </a:lnTo>
                <a:lnTo>
                  <a:pt x="598906" y="24891"/>
                </a:lnTo>
                <a:lnTo>
                  <a:pt x="593534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44" y="20205"/>
                </a:lnTo>
                <a:lnTo>
                  <a:pt x="517359" y="21132"/>
                </a:lnTo>
                <a:lnTo>
                  <a:pt x="513372" y="24841"/>
                </a:lnTo>
                <a:lnTo>
                  <a:pt x="512152" y="27698"/>
                </a:lnTo>
                <a:lnTo>
                  <a:pt x="511683" y="31546"/>
                </a:lnTo>
                <a:lnTo>
                  <a:pt x="510425" y="43751"/>
                </a:lnTo>
                <a:lnTo>
                  <a:pt x="509003" y="51879"/>
                </a:lnTo>
                <a:lnTo>
                  <a:pt x="498856" y="62699"/>
                </a:lnTo>
                <a:lnTo>
                  <a:pt x="499745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98" y="29108"/>
                </a:lnTo>
                <a:lnTo>
                  <a:pt x="522376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9" y="26174"/>
                </a:moveTo>
                <a:lnTo>
                  <a:pt x="474802" y="26174"/>
                </a:lnTo>
                <a:lnTo>
                  <a:pt x="477354" y="26796"/>
                </a:lnTo>
                <a:lnTo>
                  <a:pt x="480148" y="29324"/>
                </a:lnTo>
                <a:lnTo>
                  <a:pt x="480872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99" y="39852"/>
                </a:lnTo>
                <a:lnTo>
                  <a:pt x="448487" y="44030"/>
                </a:lnTo>
                <a:lnTo>
                  <a:pt x="447306" y="46964"/>
                </a:lnTo>
                <a:lnTo>
                  <a:pt x="447306" y="60337"/>
                </a:lnTo>
                <a:lnTo>
                  <a:pt x="448589" y="63665"/>
                </a:lnTo>
                <a:lnTo>
                  <a:pt x="453771" y="68376"/>
                </a:lnTo>
                <a:lnTo>
                  <a:pt x="457288" y="69557"/>
                </a:lnTo>
                <a:lnTo>
                  <a:pt x="465772" y="69557"/>
                </a:lnTo>
                <a:lnTo>
                  <a:pt x="469544" y="68681"/>
                </a:lnTo>
                <a:lnTo>
                  <a:pt x="476516" y="65163"/>
                </a:lnTo>
                <a:lnTo>
                  <a:pt x="479412" y="63093"/>
                </a:lnTo>
                <a:lnTo>
                  <a:pt x="480129" y="62356"/>
                </a:lnTo>
                <a:lnTo>
                  <a:pt x="466013" y="62356"/>
                </a:lnTo>
                <a:lnTo>
                  <a:pt x="463423" y="62293"/>
                </a:lnTo>
                <a:lnTo>
                  <a:pt x="460844" y="62293"/>
                </a:lnTo>
                <a:lnTo>
                  <a:pt x="458927" y="61709"/>
                </a:lnTo>
                <a:lnTo>
                  <a:pt x="456476" y="59385"/>
                </a:lnTo>
                <a:lnTo>
                  <a:pt x="455866" y="57543"/>
                </a:lnTo>
                <a:lnTo>
                  <a:pt x="455866" y="47701"/>
                </a:lnTo>
                <a:lnTo>
                  <a:pt x="457987" y="45478"/>
                </a:lnTo>
                <a:lnTo>
                  <a:pt x="462229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9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36" y="60705"/>
                </a:lnTo>
                <a:lnTo>
                  <a:pt x="482727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18" y="57416"/>
                </a:lnTo>
                <a:lnTo>
                  <a:pt x="475259" y="59245"/>
                </a:lnTo>
                <a:lnTo>
                  <a:pt x="468896" y="61760"/>
                </a:lnTo>
                <a:lnTo>
                  <a:pt x="466013" y="62356"/>
                </a:lnTo>
                <a:lnTo>
                  <a:pt x="480129" y="62356"/>
                </a:lnTo>
                <a:lnTo>
                  <a:pt x="481736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510" y="19011"/>
                </a:moveTo>
                <a:lnTo>
                  <a:pt x="466242" y="19011"/>
                </a:lnTo>
                <a:lnTo>
                  <a:pt x="458419" y="19735"/>
                </a:lnTo>
                <a:lnTo>
                  <a:pt x="449389" y="21196"/>
                </a:lnTo>
                <a:lnTo>
                  <a:pt x="450189" y="27470"/>
                </a:lnTo>
                <a:lnTo>
                  <a:pt x="459409" y="26606"/>
                </a:lnTo>
                <a:lnTo>
                  <a:pt x="466382" y="26174"/>
                </a:lnTo>
                <a:lnTo>
                  <a:pt x="488479" y="26174"/>
                </a:lnTo>
                <a:lnTo>
                  <a:pt x="488048" y="24891"/>
                </a:lnTo>
                <a:lnTo>
                  <a:pt x="482676" y="20180"/>
                </a:lnTo>
                <a:lnTo>
                  <a:pt x="478510" y="19011"/>
                </a:lnTo>
                <a:close/>
              </a:path>
              <a:path w="720725" h="70484">
                <a:moveTo>
                  <a:pt x="405015" y="20205"/>
                </a:moveTo>
                <a:lnTo>
                  <a:pt x="396557" y="20205"/>
                </a:lnTo>
                <a:lnTo>
                  <a:pt x="396557" y="68656"/>
                </a:lnTo>
                <a:lnTo>
                  <a:pt x="405015" y="68656"/>
                </a:lnTo>
                <a:lnTo>
                  <a:pt x="404890" y="49060"/>
                </a:lnTo>
                <a:lnTo>
                  <a:pt x="404609" y="46774"/>
                </a:lnTo>
                <a:lnTo>
                  <a:pt x="427304" y="46774"/>
                </a:lnTo>
                <a:lnTo>
                  <a:pt x="418744" y="43586"/>
                </a:lnTo>
                <a:lnTo>
                  <a:pt x="418744" y="43281"/>
                </a:lnTo>
                <a:lnTo>
                  <a:pt x="426639" y="40208"/>
                </a:lnTo>
                <a:lnTo>
                  <a:pt x="404520" y="40208"/>
                </a:lnTo>
                <a:lnTo>
                  <a:pt x="404795" y="38544"/>
                </a:lnTo>
                <a:lnTo>
                  <a:pt x="404916" y="37477"/>
                </a:lnTo>
                <a:lnTo>
                  <a:pt x="405015" y="20205"/>
                </a:lnTo>
                <a:close/>
              </a:path>
              <a:path w="720725" h="70484">
                <a:moveTo>
                  <a:pt x="427304" y="46774"/>
                </a:moveTo>
                <a:lnTo>
                  <a:pt x="413169" y="46774"/>
                </a:lnTo>
                <a:lnTo>
                  <a:pt x="414426" y="46951"/>
                </a:lnTo>
                <a:lnTo>
                  <a:pt x="416687" y="47675"/>
                </a:lnTo>
                <a:lnTo>
                  <a:pt x="429793" y="68656"/>
                </a:lnTo>
                <a:lnTo>
                  <a:pt x="438645" y="68656"/>
                </a:lnTo>
                <a:lnTo>
                  <a:pt x="428599" y="47993"/>
                </a:lnTo>
                <a:lnTo>
                  <a:pt x="427304" y="46774"/>
                </a:lnTo>
                <a:close/>
              </a:path>
              <a:path w="720725" h="70484">
                <a:moveTo>
                  <a:pt x="437261" y="20205"/>
                </a:moveTo>
                <a:lnTo>
                  <a:pt x="428498" y="20205"/>
                </a:lnTo>
                <a:lnTo>
                  <a:pt x="427101" y="24053"/>
                </a:lnTo>
                <a:lnTo>
                  <a:pt x="425983" y="26936"/>
                </a:lnTo>
                <a:lnTo>
                  <a:pt x="413600" y="40208"/>
                </a:lnTo>
                <a:lnTo>
                  <a:pt x="426639" y="40208"/>
                </a:lnTo>
                <a:lnTo>
                  <a:pt x="428371" y="38544"/>
                </a:lnTo>
                <a:lnTo>
                  <a:pt x="429425" y="37477"/>
                </a:lnTo>
                <a:lnTo>
                  <a:pt x="430022" y="36588"/>
                </a:lnTo>
                <a:lnTo>
                  <a:pt x="431342" y="34061"/>
                </a:lnTo>
                <a:lnTo>
                  <a:pt x="432676" y="31699"/>
                </a:lnTo>
                <a:lnTo>
                  <a:pt x="433222" y="30479"/>
                </a:lnTo>
                <a:lnTo>
                  <a:pt x="435876" y="23926"/>
                </a:lnTo>
                <a:lnTo>
                  <a:pt x="437261" y="20205"/>
                </a:lnTo>
                <a:close/>
              </a:path>
              <a:path w="720725" h="70484">
                <a:moveTo>
                  <a:pt x="310870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20" y="68656"/>
                </a:lnTo>
                <a:lnTo>
                  <a:pt x="308025" y="69062"/>
                </a:lnTo>
                <a:lnTo>
                  <a:pt x="314921" y="69265"/>
                </a:lnTo>
                <a:lnTo>
                  <a:pt x="330047" y="69265"/>
                </a:lnTo>
                <a:lnTo>
                  <a:pt x="334594" y="68186"/>
                </a:lnTo>
                <a:lnTo>
                  <a:pt x="339902" y="63868"/>
                </a:lnTo>
                <a:lnTo>
                  <a:pt x="340326" y="62598"/>
                </a:lnTo>
                <a:lnTo>
                  <a:pt x="322326" y="62598"/>
                </a:lnTo>
                <a:lnTo>
                  <a:pt x="310870" y="62496"/>
                </a:lnTo>
                <a:lnTo>
                  <a:pt x="310870" y="45275"/>
                </a:lnTo>
                <a:lnTo>
                  <a:pt x="340136" y="45275"/>
                </a:lnTo>
                <a:lnTo>
                  <a:pt x="339864" y="44488"/>
                </a:lnTo>
                <a:lnTo>
                  <a:pt x="334429" y="40106"/>
                </a:lnTo>
                <a:lnTo>
                  <a:pt x="329476" y="39001"/>
                </a:lnTo>
                <a:lnTo>
                  <a:pt x="310870" y="39001"/>
                </a:lnTo>
                <a:lnTo>
                  <a:pt x="310870" y="20205"/>
                </a:lnTo>
                <a:close/>
              </a:path>
              <a:path w="720725" h="70484">
                <a:moveTo>
                  <a:pt x="340136" y="45275"/>
                </a:moveTo>
                <a:lnTo>
                  <a:pt x="326301" y="45275"/>
                </a:lnTo>
                <a:lnTo>
                  <a:pt x="329018" y="45885"/>
                </a:lnTo>
                <a:lnTo>
                  <a:pt x="331939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14" y="59689"/>
                </a:lnTo>
                <a:lnTo>
                  <a:pt x="328942" y="62014"/>
                </a:lnTo>
                <a:lnTo>
                  <a:pt x="326237" y="62598"/>
                </a:lnTo>
                <a:lnTo>
                  <a:pt x="340326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3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63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63" y="27165"/>
                </a:lnTo>
                <a:lnTo>
                  <a:pt x="292163" y="20205"/>
                </a:lnTo>
                <a:close/>
              </a:path>
              <a:path w="720725" h="70484">
                <a:moveTo>
                  <a:pt x="237718" y="26174"/>
                </a:moveTo>
                <a:lnTo>
                  <a:pt x="224040" y="26174"/>
                </a:lnTo>
                <a:lnTo>
                  <a:pt x="226580" y="26796"/>
                </a:lnTo>
                <a:lnTo>
                  <a:pt x="229374" y="29324"/>
                </a:lnTo>
                <a:lnTo>
                  <a:pt x="230111" y="31483"/>
                </a:lnTo>
                <a:lnTo>
                  <a:pt x="230174" y="38811"/>
                </a:lnTo>
                <a:lnTo>
                  <a:pt x="205727" y="38811"/>
                </a:lnTo>
                <a:lnTo>
                  <a:pt x="202425" y="39852"/>
                </a:lnTo>
                <a:lnTo>
                  <a:pt x="197713" y="44030"/>
                </a:lnTo>
                <a:lnTo>
                  <a:pt x="196532" y="46964"/>
                </a:lnTo>
                <a:lnTo>
                  <a:pt x="196532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14" y="69557"/>
                </a:lnTo>
                <a:lnTo>
                  <a:pt x="215011" y="69557"/>
                </a:lnTo>
                <a:lnTo>
                  <a:pt x="218782" y="68681"/>
                </a:lnTo>
                <a:lnTo>
                  <a:pt x="225742" y="65163"/>
                </a:lnTo>
                <a:lnTo>
                  <a:pt x="228650" y="63093"/>
                </a:lnTo>
                <a:lnTo>
                  <a:pt x="229367" y="62356"/>
                </a:lnTo>
                <a:lnTo>
                  <a:pt x="215239" y="62356"/>
                </a:lnTo>
                <a:lnTo>
                  <a:pt x="212661" y="62293"/>
                </a:lnTo>
                <a:lnTo>
                  <a:pt x="210070" y="62293"/>
                </a:lnTo>
                <a:lnTo>
                  <a:pt x="208165" y="61709"/>
                </a:lnTo>
                <a:lnTo>
                  <a:pt x="205701" y="59385"/>
                </a:lnTo>
                <a:lnTo>
                  <a:pt x="205105" y="57543"/>
                </a:lnTo>
                <a:lnTo>
                  <a:pt x="205105" y="47701"/>
                </a:lnTo>
                <a:lnTo>
                  <a:pt x="207225" y="45478"/>
                </a:lnTo>
                <a:lnTo>
                  <a:pt x="211467" y="45275"/>
                </a:lnTo>
                <a:lnTo>
                  <a:pt x="238633" y="45275"/>
                </a:lnTo>
                <a:lnTo>
                  <a:pt x="238633" y="28892"/>
                </a:lnTo>
                <a:lnTo>
                  <a:pt x="237718" y="26174"/>
                </a:lnTo>
                <a:close/>
              </a:path>
              <a:path w="720725" h="70484">
                <a:moveTo>
                  <a:pt x="238633" y="60705"/>
                </a:moveTo>
                <a:lnTo>
                  <a:pt x="230974" y="60705"/>
                </a:lnTo>
                <a:lnTo>
                  <a:pt x="231965" y="68656"/>
                </a:lnTo>
                <a:lnTo>
                  <a:pt x="238633" y="68656"/>
                </a:lnTo>
                <a:lnTo>
                  <a:pt x="238633" y="60705"/>
                </a:lnTo>
                <a:close/>
              </a:path>
              <a:path w="720725" h="70484">
                <a:moveTo>
                  <a:pt x="238633" y="45275"/>
                </a:moveTo>
                <a:lnTo>
                  <a:pt x="230174" y="45275"/>
                </a:lnTo>
                <a:lnTo>
                  <a:pt x="230174" y="55029"/>
                </a:lnTo>
                <a:lnTo>
                  <a:pt x="227457" y="57416"/>
                </a:lnTo>
                <a:lnTo>
                  <a:pt x="224497" y="59245"/>
                </a:lnTo>
                <a:lnTo>
                  <a:pt x="218122" y="61760"/>
                </a:lnTo>
                <a:lnTo>
                  <a:pt x="215239" y="62356"/>
                </a:lnTo>
                <a:lnTo>
                  <a:pt x="229367" y="62356"/>
                </a:lnTo>
                <a:lnTo>
                  <a:pt x="230974" y="60705"/>
                </a:lnTo>
                <a:lnTo>
                  <a:pt x="238633" y="60705"/>
                </a:lnTo>
                <a:lnTo>
                  <a:pt x="238633" y="45275"/>
                </a:lnTo>
                <a:close/>
              </a:path>
              <a:path w="720725" h="70484">
                <a:moveTo>
                  <a:pt x="227749" y="19011"/>
                </a:moveTo>
                <a:lnTo>
                  <a:pt x="215480" y="19011"/>
                </a:lnTo>
                <a:lnTo>
                  <a:pt x="207645" y="19735"/>
                </a:lnTo>
                <a:lnTo>
                  <a:pt x="198628" y="21196"/>
                </a:lnTo>
                <a:lnTo>
                  <a:pt x="199428" y="27470"/>
                </a:lnTo>
                <a:lnTo>
                  <a:pt x="208648" y="26606"/>
                </a:lnTo>
                <a:lnTo>
                  <a:pt x="215607" y="26174"/>
                </a:lnTo>
                <a:lnTo>
                  <a:pt x="237718" y="26174"/>
                </a:lnTo>
                <a:lnTo>
                  <a:pt x="237286" y="24891"/>
                </a:lnTo>
                <a:lnTo>
                  <a:pt x="231914" y="20180"/>
                </a:lnTo>
                <a:lnTo>
                  <a:pt x="227749" y="19011"/>
                </a:lnTo>
                <a:close/>
              </a:path>
              <a:path w="720725" h="70484">
                <a:moveTo>
                  <a:pt x="139382" y="20205"/>
                </a:moveTo>
                <a:lnTo>
                  <a:pt x="126784" y="20205"/>
                </a:lnTo>
                <a:lnTo>
                  <a:pt x="125691" y="21259"/>
                </a:lnTo>
                <a:lnTo>
                  <a:pt x="125691" y="23380"/>
                </a:lnTo>
                <a:lnTo>
                  <a:pt x="123698" y="68656"/>
                </a:lnTo>
                <a:lnTo>
                  <a:pt x="131457" y="68656"/>
                </a:lnTo>
                <a:lnTo>
                  <a:pt x="133248" y="26669"/>
                </a:lnTo>
                <a:lnTo>
                  <a:pt x="142336" y="26669"/>
                </a:lnTo>
                <a:lnTo>
                  <a:pt x="141008" y="22986"/>
                </a:lnTo>
                <a:lnTo>
                  <a:pt x="140487" y="21132"/>
                </a:lnTo>
                <a:lnTo>
                  <a:pt x="139382" y="20205"/>
                </a:lnTo>
                <a:close/>
              </a:path>
              <a:path w="720725" h="70484">
                <a:moveTo>
                  <a:pt x="182460" y="26669"/>
                </a:moveTo>
                <a:lnTo>
                  <a:pt x="174650" y="26669"/>
                </a:lnTo>
                <a:lnTo>
                  <a:pt x="176542" y="68656"/>
                </a:lnTo>
                <a:lnTo>
                  <a:pt x="184404" y="68656"/>
                </a:lnTo>
                <a:lnTo>
                  <a:pt x="182460" y="26669"/>
                </a:lnTo>
                <a:close/>
              </a:path>
              <a:path w="720725" h="70484">
                <a:moveTo>
                  <a:pt x="142336" y="26669"/>
                </a:moveTo>
                <a:lnTo>
                  <a:pt x="134937" y="26669"/>
                </a:lnTo>
                <a:lnTo>
                  <a:pt x="147281" y="60604"/>
                </a:lnTo>
                <a:lnTo>
                  <a:pt x="147878" y="62458"/>
                </a:lnTo>
                <a:lnTo>
                  <a:pt x="149009" y="63385"/>
                </a:lnTo>
                <a:lnTo>
                  <a:pt x="158889" y="63385"/>
                </a:lnTo>
                <a:lnTo>
                  <a:pt x="160020" y="62458"/>
                </a:lnTo>
                <a:lnTo>
                  <a:pt x="160616" y="60604"/>
                </a:lnTo>
                <a:lnTo>
                  <a:pt x="161632" y="57810"/>
                </a:lnTo>
                <a:lnTo>
                  <a:pt x="153149" y="57810"/>
                </a:lnTo>
                <a:lnTo>
                  <a:pt x="152425" y="55029"/>
                </a:lnTo>
                <a:lnTo>
                  <a:pt x="151726" y="52704"/>
                </a:lnTo>
                <a:lnTo>
                  <a:pt x="142336" y="26669"/>
                </a:lnTo>
                <a:close/>
              </a:path>
              <a:path w="720725" h="70484">
                <a:moveTo>
                  <a:pt x="181241" y="20205"/>
                </a:moveTo>
                <a:lnTo>
                  <a:pt x="168605" y="20205"/>
                </a:lnTo>
                <a:lnTo>
                  <a:pt x="167487" y="21132"/>
                </a:lnTo>
                <a:lnTo>
                  <a:pt x="166878" y="22986"/>
                </a:lnTo>
                <a:lnTo>
                  <a:pt x="156832" y="50850"/>
                </a:lnTo>
                <a:lnTo>
                  <a:pt x="156375" y="52247"/>
                </a:lnTo>
                <a:lnTo>
                  <a:pt x="155663" y="54559"/>
                </a:lnTo>
                <a:lnTo>
                  <a:pt x="154749" y="57810"/>
                </a:lnTo>
                <a:lnTo>
                  <a:pt x="161632" y="57810"/>
                </a:lnTo>
                <a:lnTo>
                  <a:pt x="172948" y="26669"/>
                </a:lnTo>
                <a:lnTo>
                  <a:pt x="182460" y="26669"/>
                </a:lnTo>
                <a:lnTo>
                  <a:pt x="182308" y="23380"/>
                </a:lnTo>
                <a:lnTo>
                  <a:pt x="182308" y="21259"/>
                </a:lnTo>
                <a:lnTo>
                  <a:pt x="181241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89" y="20205"/>
                </a:lnTo>
                <a:lnTo>
                  <a:pt x="81305" y="21132"/>
                </a:lnTo>
                <a:lnTo>
                  <a:pt x="77317" y="24841"/>
                </a:lnTo>
                <a:lnTo>
                  <a:pt x="76098" y="27698"/>
                </a:lnTo>
                <a:lnTo>
                  <a:pt x="75628" y="31546"/>
                </a:lnTo>
                <a:lnTo>
                  <a:pt x="74371" y="43751"/>
                </a:lnTo>
                <a:lnTo>
                  <a:pt x="72948" y="51879"/>
                </a:lnTo>
                <a:lnTo>
                  <a:pt x="62788" y="62699"/>
                </a:lnTo>
                <a:lnTo>
                  <a:pt x="63690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21" y="27317"/>
                </a:lnTo>
                <a:lnTo>
                  <a:pt x="87807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96" y="0"/>
                </a:lnTo>
                <a:lnTo>
                  <a:pt x="22491" y="800"/>
                </a:lnTo>
                <a:lnTo>
                  <a:pt x="22098" y="2387"/>
                </a:lnTo>
                <a:lnTo>
                  <a:pt x="0" y="68656"/>
                </a:lnTo>
                <a:lnTo>
                  <a:pt x="9055" y="68656"/>
                </a:lnTo>
                <a:lnTo>
                  <a:pt x="15824" y="47167"/>
                </a:lnTo>
                <a:lnTo>
                  <a:pt x="52744" y="47167"/>
                </a:lnTo>
                <a:lnTo>
                  <a:pt x="50226" y="39611"/>
                </a:lnTo>
                <a:lnTo>
                  <a:pt x="18211" y="39611"/>
                </a:lnTo>
                <a:lnTo>
                  <a:pt x="26873" y="12344"/>
                </a:lnTo>
                <a:lnTo>
                  <a:pt x="28562" y="6769"/>
                </a:lnTo>
                <a:lnTo>
                  <a:pt x="39280" y="6769"/>
                </a:lnTo>
                <a:lnTo>
                  <a:pt x="37820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44" y="47167"/>
                </a:moveTo>
                <a:lnTo>
                  <a:pt x="44081" y="47167"/>
                </a:lnTo>
                <a:lnTo>
                  <a:pt x="50850" y="68656"/>
                </a:lnTo>
                <a:lnTo>
                  <a:pt x="59905" y="68656"/>
                </a:lnTo>
                <a:lnTo>
                  <a:pt x="52744" y="47167"/>
                </a:lnTo>
                <a:close/>
              </a:path>
              <a:path w="720725" h="70484">
                <a:moveTo>
                  <a:pt x="39280" y="6769"/>
                </a:moveTo>
                <a:lnTo>
                  <a:pt x="31343" y="6769"/>
                </a:lnTo>
                <a:lnTo>
                  <a:pt x="31877" y="8762"/>
                </a:lnTo>
                <a:lnTo>
                  <a:pt x="32448" y="10617"/>
                </a:lnTo>
                <a:lnTo>
                  <a:pt x="33045" y="12344"/>
                </a:lnTo>
                <a:lnTo>
                  <a:pt x="41694" y="39611"/>
                </a:lnTo>
                <a:lnTo>
                  <a:pt x="50226" y="39611"/>
                </a:lnTo>
                <a:lnTo>
                  <a:pt x="39280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4BD88F5A-33D8-4F1F-9CCF-824838D1BD25}"/>
              </a:ext>
            </a:extLst>
          </p:cNvPr>
          <p:cNvSpPr/>
          <p:nvPr/>
        </p:nvSpPr>
        <p:spPr>
          <a:xfrm>
            <a:off x="775530" y="5906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01" y="20802"/>
                </a:lnTo>
                <a:lnTo>
                  <a:pt x="507301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2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5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62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5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49" y="51193"/>
                </a:lnTo>
                <a:lnTo>
                  <a:pt x="537349" y="57950"/>
                </a:lnTo>
                <a:lnTo>
                  <a:pt x="536600" y="60286"/>
                </a:lnTo>
                <a:lnTo>
                  <a:pt x="533615" y="62611"/>
                </a:lnTo>
                <a:lnTo>
                  <a:pt x="530910" y="63195"/>
                </a:lnTo>
                <a:lnTo>
                  <a:pt x="545012" y="63195"/>
                </a:lnTo>
                <a:lnTo>
                  <a:pt x="545909" y="60502"/>
                </a:lnTo>
                <a:lnTo>
                  <a:pt x="545878" y="48945"/>
                </a:lnTo>
                <a:lnTo>
                  <a:pt x="544825" y="45885"/>
                </a:lnTo>
                <a:close/>
              </a:path>
              <a:path w="563880" h="89534">
                <a:moveTo>
                  <a:pt x="563321" y="20802"/>
                </a:moveTo>
                <a:lnTo>
                  <a:pt x="554761" y="20802"/>
                </a:lnTo>
                <a:lnTo>
                  <a:pt x="554761" y="69265"/>
                </a:lnTo>
                <a:lnTo>
                  <a:pt x="563321" y="69265"/>
                </a:lnTo>
                <a:lnTo>
                  <a:pt x="563321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74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42" y="69634"/>
                </a:lnTo>
                <a:lnTo>
                  <a:pt x="495553" y="67970"/>
                </a:lnTo>
                <a:lnTo>
                  <a:pt x="494904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51" y="33235"/>
                </a:lnTo>
                <a:lnTo>
                  <a:pt x="470623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4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1995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289" y="68973"/>
                </a:lnTo>
                <a:lnTo>
                  <a:pt x="410806" y="70154"/>
                </a:lnTo>
                <a:lnTo>
                  <a:pt x="419290" y="70154"/>
                </a:lnTo>
                <a:lnTo>
                  <a:pt x="423087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45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47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1995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45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77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28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07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1995" y="26771"/>
                </a:lnTo>
                <a:lnTo>
                  <a:pt x="441566" y="25501"/>
                </a:lnTo>
                <a:lnTo>
                  <a:pt x="436194" y="20777"/>
                </a:lnTo>
                <a:lnTo>
                  <a:pt x="432028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63" y="20802"/>
                </a:lnTo>
                <a:lnTo>
                  <a:pt x="329971" y="21856"/>
                </a:lnTo>
                <a:lnTo>
                  <a:pt x="329971" y="23977"/>
                </a:lnTo>
                <a:lnTo>
                  <a:pt x="327977" y="69265"/>
                </a:lnTo>
                <a:lnTo>
                  <a:pt x="335737" y="69265"/>
                </a:lnTo>
                <a:lnTo>
                  <a:pt x="337527" y="27266"/>
                </a:lnTo>
                <a:lnTo>
                  <a:pt x="346627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40" y="27266"/>
                </a:moveTo>
                <a:lnTo>
                  <a:pt x="378929" y="27266"/>
                </a:lnTo>
                <a:lnTo>
                  <a:pt x="380822" y="69265"/>
                </a:lnTo>
                <a:lnTo>
                  <a:pt x="388683" y="69265"/>
                </a:lnTo>
                <a:lnTo>
                  <a:pt x="386740" y="27266"/>
                </a:lnTo>
                <a:close/>
              </a:path>
              <a:path w="563880" h="89534">
                <a:moveTo>
                  <a:pt x="346627" y="27266"/>
                </a:moveTo>
                <a:lnTo>
                  <a:pt x="339229" y="27266"/>
                </a:lnTo>
                <a:lnTo>
                  <a:pt x="351561" y="61201"/>
                </a:lnTo>
                <a:lnTo>
                  <a:pt x="352158" y="63068"/>
                </a:lnTo>
                <a:lnTo>
                  <a:pt x="353288" y="63982"/>
                </a:lnTo>
                <a:lnTo>
                  <a:pt x="363169" y="63982"/>
                </a:lnTo>
                <a:lnTo>
                  <a:pt x="364299" y="63068"/>
                </a:lnTo>
                <a:lnTo>
                  <a:pt x="364896" y="61201"/>
                </a:lnTo>
                <a:lnTo>
                  <a:pt x="365908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46627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11" y="51447"/>
                </a:lnTo>
                <a:lnTo>
                  <a:pt x="360654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08" y="58420"/>
                </a:lnTo>
                <a:lnTo>
                  <a:pt x="377240" y="27266"/>
                </a:lnTo>
                <a:lnTo>
                  <a:pt x="386740" y="27266"/>
                </a:lnTo>
                <a:lnTo>
                  <a:pt x="386588" y="23977"/>
                </a:lnTo>
                <a:lnTo>
                  <a:pt x="386461" y="21729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22" y="65481"/>
                </a:lnTo>
                <a:lnTo>
                  <a:pt x="310492" y="65481"/>
                </a:lnTo>
                <a:lnTo>
                  <a:pt x="312319" y="63093"/>
                </a:lnTo>
                <a:lnTo>
                  <a:pt x="291363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54" y="29464"/>
                </a:lnTo>
                <a:lnTo>
                  <a:pt x="288060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492" y="65481"/>
                </a:moveTo>
                <a:lnTo>
                  <a:pt x="279222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40" y="68554"/>
                </a:lnTo>
                <a:lnTo>
                  <a:pt x="310492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85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19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58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0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58" y="19608"/>
                </a:lnTo>
                <a:close/>
              </a:path>
              <a:path w="563880" h="89534">
                <a:moveTo>
                  <a:pt x="254619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78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30" y="39408"/>
                </a:lnTo>
                <a:lnTo>
                  <a:pt x="219329" y="40449"/>
                </a:lnTo>
                <a:lnTo>
                  <a:pt x="214617" y="44627"/>
                </a:lnTo>
                <a:lnTo>
                  <a:pt x="213436" y="47574"/>
                </a:lnTo>
                <a:lnTo>
                  <a:pt x="213436" y="60934"/>
                </a:lnTo>
                <a:lnTo>
                  <a:pt x="214731" y="64274"/>
                </a:lnTo>
                <a:lnTo>
                  <a:pt x="219913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46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71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19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52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31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11" y="26771"/>
                </a:lnTo>
                <a:lnTo>
                  <a:pt x="254619" y="26771"/>
                </a:lnTo>
                <a:lnTo>
                  <a:pt x="254190" y="25501"/>
                </a:lnTo>
                <a:lnTo>
                  <a:pt x="248818" y="20777"/>
                </a:lnTo>
                <a:lnTo>
                  <a:pt x="244652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51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1" y="40805"/>
                </a:lnTo>
                <a:lnTo>
                  <a:pt x="170649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29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390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43" y="40805"/>
                </a:lnTo>
                <a:lnTo>
                  <a:pt x="192781" y="40805"/>
                </a:lnTo>
                <a:lnTo>
                  <a:pt x="195567" y="38087"/>
                </a:lnTo>
                <a:lnTo>
                  <a:pt x="196164" y="37185"/>
                </a:lnTo>
                <a:lnTo>
                  <a:pt x="198018" y="33693"/>
                </a:lnTo>
                <a:lnTo>
                  <a:pt x="198818" y="32296"/>
                </a:lnTo>
                <a:lnTo>
                  <a:pt x="199364" y="31076"/>
                </a:lnTo>
                <a:lnTo>
                  <a:pt x="202018" y="24536"/>
                </a:lnTo>
                <a:lnTo>
                  <a:pt x="202603" y="22987"/>
                </a:lnTo>
                <a:lnTo>
                  <a:pt x="203390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40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78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78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58" y="27368"/>
                </a:lnTo>
                <a:lnTo>
                  <a:pt x="149078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52" y="29921"/>
                </a:lnTo>
                <a:lnTo>
                  <a:pt x="89789" y="32080"/>
                </a:lnTo>
                <a:lnTo>
                  <a:pt x="89852" y="39408"/>
                </a:lnTo>
                <a:lnTo>
                  <a:pt x="65404" y="39408"/>
                </a:lnTo>
                <a:lnTo>
                  <a:pt x="62103" y="40449"/>
                </a:lnTo>
                <a:lnTo>
                  <a:pt x="57391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20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39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34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05" y="28067"/>
                </a:lnTo>
                <a:lnTo>
                  <a:pt x="68325" y="27203"/>
                </a:lnTo>
                <a:lnTo>
                  <a:pt x="75285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190" y="69265"/>
                </a:lnTo>
                <a:lnTo>
                  <a:pt x="6756" y="69862"/>
                </a:lnTo>
                <a:lnTo>
                  <a:pt x="13957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64" y="62560"/>
                </a:lnTo>
                <a:lnTo>
                  <a:pt x="8750" y="62496"/>
                </a:lnTo>
                <a:lnTo>
                  <a:pt x="8750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50" y="30149"/>
                </a:lnTo>
                <a:lnTo>
                  <a:pt x="8750" y="7861"/>
                </a:lnTo>
                <a:lnTo>
                  <a:pt x="41389" y="7861"/>
                </a:lnTo>
                <a:lnTo>
                  <a:pt x="42189" y="596"/>
                </a:lnTo>
                <a:lnTo>
                  <a:pt x="35217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48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48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27" name="object 26">
            <a:extLst>
              <a:ext uri="{FF2B5EF4-FFF2-40B4-BE49-F238E27FC236}">
                <a16:creationId xmlns:a16="http://schemas.microsoft.com/office/drawing/2014/main" id="{4FD095DE-CC68-4742-847D-896730F55ED1}"/>
              </a:ext>
            </a:extLst>
          </p:cNvPr>
          <p:cNvSpPr/>
          <p:nvPr/>
        </p:nvSpPr>
        <p:spPr>
          <a:xfrm>
            <a:off x="774201" y="425570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40" y="103365"/>
                </a:lnTo>
                <a:lnTo>
                  <a:pt x="984491" y="105181"/>
                </a:lnTo>
                <a:lnTo>
                  <a:pt x="992504" y="105181"/>
                </a:lnTo>
                <a:lnTo>
                  <a:pt x="990206" y="110883"/>
                </a:lnTo>
                <a:lnTo>
                  <a:pt x="987094" y="114896"/>
                </a:lnTo>
                <a:lnTo>
                  <a:pt x="983195" y="117195"/>
                </a:lnTo>
                <a:lnTo>
                  <a:pt x="979385" y="119494"/>
                </a:lnTo>
                <a:lnTo>
                  <a:pt x="972921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34" y="127550"/>
                </a:lnTo>
                <a:lnTo>
                  <a:pt x="1004639" y="121813"/>
                </a:lnTo>
                <a:lnTo>
                  <a:pt x="1005480" y="120497"/>
                </a:lnTo>
                <a:lnTo>
                  <a:pt x="972921" y="120497"/>
                </a:lnTo>
                <a:lnTo>
                  <a:pt x="963815" y="120205"/>
                </a:lnTo>
                <a:lnTo>
                  <a:pt x="1005666" y="120205"/>
                </a:lnTo>
                <a:lnTo>
                  <a:pt x="1009178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08" y="90144"/>
                </a:lnTo>
                <a:lnTo>
                  <a:pt x="996315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22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48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699" y="133718"/>
                </a:lnTo>
                <a:lnTo>
                  <a:pt x="897680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699" y="87591"/>
                </a:lnTo>
                <a:lnTo>
                  <a:pt x="897699" y="53644"/>
                </a:lnTo>
                <a:lnTo>
                  <a:pt x="904913" y="48933"/>
                </a:lnTo>
                <a:lnTo>
                  <a:pt x="911021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48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2" y="103068"/>
                </a:lnTo>
                <a:lnTo>
                  <a:pt x="908330" y="105322"/>
                </a:lnTo>
                <a:lnTo>
                  <a:pt x="914858" y="106674"/>
                </a:lnTo>
                <a:lnTo>
                  <a:pt x="922045" y="107124"/>
                </a:lnTo>
                <a:lnTo>
                  <a:pt x="931760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599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80" y="105181"/>
                </a:lnTo>
                <a:lnTo>
                  <a:pt x="766208" y="105572"/>
                </a:lnTo>
                <a:lnTo>
                  <a:pt x="774509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51" y="106070"/>
                </a:lnTo>
                <a:lnTo>
                  <a:pt x="813473" y="104305"/>
                </a:lnTo>
                <a:lnTo>
                  <a:pt x="822680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6" y="70777"/>
                </a:lnTo>
                <a:lnTo>
                  <a:pt x="822579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6" y="70777"/>
                </a:moveTo>
                <a:lnTo>
                  <a:pt x="795642" y="70777"/>
                </a:lnTo>
                <a:lnTo>
                  <a:pt x="798715" y="71424"/>
                </a:lnTo>
                <a:lnTo>
                  <a:pt x="801827" y="74028"/>
                </a:lnTo>
                <a:lnTo>
                  <a:pt x="802601" y="76631"/>
                </a:lnTo>
                <a:lnTo>
                  <a:pt x="802601" y="84645"/>
                </a:lnTo>
                <a:lnTo>
                  <a:pt x="801827" y="87325"/>
                </a:lnTo>
                <a:lnTo>
                  <a:pt x="798715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6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38" y="126352"/>
                </a:lnTo>
                <a:lnTo>
                  <a:pt x="673836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79" y="70734"/>
                </a:lnTo>
                <a:lnTo>
                  <a:pt x="670132" y="80381"/>
                </a:lnTo>
                <a:lnTo>
                  <a:pt x="667080" y="89255"/>
                </a:lnTo>
                <a:lnTo>
                  <a:pt x="686612" y="89255"/>
                </a:lnTo>
                <a:lnTo>
                  <a:pt x="696277" y="48488"/>
                </a:lnTo>
                <a:lnTo>
                  <a:pt x="698779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28" y="31102"/>
                </a:lnTo>
                <a:lnTo>
                  <a:pt x="573328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22" y="106984"/>
                </a:lnTo>
                <a:lnTo>
                  <a:pt x="515684" y="106166"/>
                </a:lnTo>
                <a:lnTo>
                  <a:pt x="522889" y="103711"/>
                </a:lnTo>
                <a:lnTo>
                  <a:pt x="529433" y="99623"/>
                </a:lnTo>
                <a:lnTo>
                  <a:pt x="535317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17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02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56" y="28994"/>
                </a:lnTo>
                <a:lnTo>
                  <a:pt x="516521" y="29220"/>
                </a:lnTo>
                <a:lnTo>
                  <a:pt x="506998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43" y="47637"/>
                </a:lnTo>
                <a:lnTo>
                  <a:pt x="498564" y="47104"/>
                </a:lnTo>
                <a:lnTo>
                  <a:pt x="506814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67" y="39141"/>
                </a:lnTo>
                <a:lnTo>
                  <a:pt x="543255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0" y="82222"/>
                </a:lnTo>
                <a:lnTo>
                  <a:pt x="428942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51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39" y="133718"/>
                </a:lnTo>
                <a:lnTo>
                  <a:pt x="331139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27" y="99910"/>
                </a:lnTo>
                <a:lnTo>
                  <a:pt x="376961" y="98640"/>
                </a:lnTo>
                <a:lnTo>
                  <a:pt x="379985" y="93590"/>
                </a:lnTo>
                <a:lnTo>
                  <a:pt x="380955" y="90601"/>
                </a:lnTo>
                <a:lnTo>
                  <a:pt x="344563" y="90601"/>
                </a:lnTo>
                <a:lnTo>
                  <a:pt x="338950" y="89598"/>
                </a:lnTo>
                <a:lnTo>
                  <a:pt x="331139" y="87591"/>
                </a:lnTo>
                <a:lnTo>
                  <a:pt x="331139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66" y="46583"/>
                </a:lnTo>
                <a:lnTo>
                  <a:pt x="378555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27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51" y="104305"/>
                </a:lnTo>
                <a:lnTo>
                  <a:pt x="375927" y="99910"/>
                </a:lnTo>
                <a:close/>
              </a:path>
              <a:path w="1039494" h="136525">
                <a:moveTo>
                  <a:pt x="380366" y="46583"/>
                </a:moveTo>
                <a:lnTo>
                  <a:pt x="353771" y="46583"/>
                </a:lnTo>
                <a:lnTo>
                  <a:pt x="356781" y="48107"/>
                </a:lnTo>
                <a:lnTo>
                  <a:pt x="360184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08" y="83591"/>
                </a:lnTo>
                <a:lnTo>
                  <a:pt x="356400" y="89204"/>
                </a:lnTo>
                <a:lnTo>
                  <a:pt x="352971" y="90601"/>
                </a:lnTo>
                <a:lnTo>
                  <a:pt x="380955" y="90601"/>
                </a:lnTo>
                <a:lnTo>
                  <a:pt x="382144" y="86936"/>
                </a:lnTo>
                <a:lnTo>
                  <a:pt x="383438" y="78679"/>
                </a:lnTo>
                <a:lnTo>
                  <a:pt x="383870" y="68821"/>
                </a:lnTo>
                <a:lnTo>
                  <a:pt x="382265" y="51469"/>
                </a:lnTo>
                <a:lnTo>
                  <a:pt x="380366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40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55" y="41922"/>
                </a:lnTo>
                <a:lnTo>
                  <a:pt x="377448" y="39074"/>
                </a:lnTo>
                <a:lnTo>
                  <a:pt x="369420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14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14" y="133718"/>
                </a:lnTo>
                <a:lnTo>
                  <a:pt x="253314" y="106680"/>
                </a:lnTo>
                <a:lnTo>
                  <a:pt x="263358" y="105467"/>
                </a:lnTo>
                <a:lnTo>
                  <a:pt x="288514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06" y="45377"/>
                </a:lnTo>
                <a:lnTo>
                  <a:pt x="288229" y="44980"/>
                </a:lnTo>
                <a:lnTo>
                  <a:pt x="253314" y="29298"/>
                </a:lnTo>
                <a:lnTo>
                  <a:pt x="253314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06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14" y="54686"/>
                </a:lnTo>
                <a:lnTo>
                  <a:pt x="272237" y="60299"/>
                </a:lnTo>
                <a:lnTo>
                  <a:pt x="272237" y="76034"/>
                </a:lnTo>
                <a:lnTo>
                  <a:pt x="270814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14" y="90601"/>
                </a:lnTo>
                <a:lnTo>
                  <a:pt x="291114" y="84855"/>
                </a:lnTo>
                <a:lnTo>
                  <a:pt x="292844" y="77182"/>
                </a:lnTo>
                <a:lnTo>
                  <a:pt x="293420" y="68211"/>
                </a:lnTo>
                <a:lnTo>
                  <a:pt x="292844" y="59172"/>
                </a:lnTo>
                <a:lnTo>
                  <a:pt x="291114" y="51428"/>
                </a:lnTo>
                <a:lnTo>
                  <a:pt x="288406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25" y="31102"/>
                </a:lnTo>
                <a:lnTo>
                  <a:pt x="105625" y="105181"/>
                </a:lnTo>
                <a:lnTo>
                  <a:pt x="124548" y="105181"/>
                </a:lnTo>
                <a:lnTo>
                  <a:pt x="141237" y="81584"/>
                </a:lnTo>
                <a:lnTo>
                  <a:pt x="124548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37" y="81584"/>
                </a:lnTo>
                <a:lnTo>
                  <a:pt x="152501" y="65659"/>
                </a:lnTo>
                <a:lnTo>
                  <a:pt x="155105" y="61950"/>
                </a:lnTo>
                <a:lnTo>
                  <a:pt x="156959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391" y="1498"/>
                </a:lnTo>
                <a:lnTo>
                  <a:pt x="57391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28" name="object 27">
            <a:extLst>
              <a:ext uri="{FF2B5EF4-FFF2-40B4-BE49-F238E27FC236}">
                <a16:creationId xmlns:a16="http://schemas.microsoft.com/office/drawing/2014/main" id="{B2EBA47F-7BC1-493D-8714-3C50C180DA81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29" name="object 28">
            <a:extLst>
              <a:ext uri="{FF2B5EF4-FFF2-40B4-BE49-F238E27FC236}">
                <a16:creationId xmlns:a16="http://schemas.microsoft.com/office/drawing/2014/main" id="{7D0B3735-F54D-4FE1-BF46-D0E9C79EE9FE}"/>
              </a:ext>
            </a:extLst>
          </p:cNvPr>
          <p:cNvSpPr txBox="1"/>
          <p:nvPr/>
        </p:nvSpPr>
        <p:spPr>
          <a:xfrm>
            <a:off x="267372" y="6491936"/>
            <a:ext cx="1191304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Almaty</a:t>
            </a:r>
            <a:r>
              <a:rPr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02</a:t>
            </a:r>
            <a:r>
              <a:rPr lang="ru-RU" sz="1200" spc="-5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2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30" name="object 29">
            <a:extLst>
              <a:ext uri="{FF2B5EF4-FFF2-40B4-BE49-F238E27FC236}">
                <a16:creationId xmlns:a16="http://schemas.microsoft.com/office/drawing/2014/main" id="{ED080FBB-12C6-4DD8-B3F5-0EADDB17C8AB}"/>
              </a:ext>
            </a:extLst>
          </p:cNvPr>
          <p:cNvSpPr txBox="1"/>
          <p:nvPr/>
        </p:nvSpPr>
        <p:spPr>
          <a:xfrm>
            <a:off x="267372" y="6247866"/>
            <a:ext cx="933689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808285"/>
                </a:solidFill>
                <a:latin typeface="Century Gothic" pitchFamily="34" charset="0"/>
                <a:cs typeface="KZ_Exo 2 Medium Condensed"/>
              </a:rPr>
              <a:t>Qazaqstan</a:t>
            </a:r>
            <a:endParaRPr sz="1200" dirty="0">
              <a:latin typeface="Century Gothic" pitchFamily="34" charset="0"/>
              <a:cs typeface="KZ_Exo 2 Medium Condensed"/>
            </a:endParaRPr>
          </a:p>
        </p:txBody>
      </p:sp>
      <p:sp>
        <p:nvSpPr>
          <p:cNvPr id="31" name="object 23">
            <a:extLst>
              <a:ext uri="{FF2B5EF4-FFF2-40B4-BE49-F238E27FC236}">
                <a16:creationId xmlns:a16="http://schemas.microsoft.com/office/drawing/2014/main" id="{E36B2F29-4203-438D-B50F-35FC14D32605}"/>
              </a:ext>
            </a:extLst>
          </p:cNvPr>
          <p:cNvSpPr/>
          <p:nvPr/>
        </p:nvSpPr>
        <p:spPr>
          <a:xfrm>
            <a:off x="191344" y="188640"/>
            <a:ext cx="409359" cy="500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8BED2C93-A0EB-4B98-BC0F-CC812C2C0575}"/>
              </a:ext>
            </a:extLst>
          </p:cNvPr>
          <p:cNvSpPr/>
          <p:nvPr/>
        </p:nvSpPr>
        <p:spPr>
          <a:xfrm>
            <a:off x="2558401" y="982796"/>
            <a:ext cx="7421306" cy="678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Бейне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мониторингтің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бірыңғай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жүйесі</a:t>
            </a:r>
            <a:endParaRPr lang="ru-RU" sz="1400" b="1" dirty="0">
              <a:latin typeface="Century Gothic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жобаны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енгізудің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белсенді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фазасы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3" name="Прямоугольник 42">
            <a:extLst>
              <a:ext uri="{FF2B5EF4-FFF2-40B4-BE49-F238E27FC236}">
                <a16:creationId xmlns:a16="http://schemas.microsoft.com/office/drawing/2014/main" id="{B051ECA4-14F0-44C8-837F-A6C4A3EC5E1C}"/>
              </a:ext>
            </a:extLst>
          </p:cNvPr>
          <p:cNvSpPr/>
          <p:nvPr/>
        </p:nvSpPr>
        <p:spPr>
          <a:xfrm>
            <a:off x="1796559" y="982794"/>
            <a:ext cx="590695" cy="678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Century Gothic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0E60D8C-641F-49A0-A889-0D8104199517}"/>
              </a:ext>
            </a:extLst>
          </p:cNvPr>
          <p:cNvSpPr/>
          <p:nvPr/>
        </p:nvSpPr>
        <p:spPr>
          <a:xfrm>
            <a:off x="2558401" y="1855930"/>
            <a:ext cx="7421306" cy="67800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buClr>
                <a:schemeClr val="lt1"/>
              </a:buClr>
              <a:buSzPts val="800"/>
            </a:pP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Коммуналдық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қызметтерді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еткізушілердің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тұтынушылармен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өзара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іс-қимыл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асау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сервисі</a:t>
            </a:r>
            <a:r>
              <a:rPr lang="ru-RU" sz="1400" b="1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«Сервис»</a:t>
            </a:r>
          </a:p>
          <a:p>
            <a:pPr lvl="0" algn="ctr">
              <a:buClr>
                <a:schemeClr val="lt1"/>
              </a:buClr>
              <a:buSzPts val="800"/>
            </a:pPr>
            <a:r>
              <a:rPr lang="ru-RU" sz="1400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(</a:t>
            </a:r>
            <a:r>
              <a:rPr lang="ru-RU" sz="1400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жобаны</a:t>
            </a:r>
            <a:r>
              <a:rPr lang="ru-RU" sz="1400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енгізудің</a:t>
            </a:r>
            <a:r>
              <a:rPr lang="ru-RU" sz="1400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белсенді</a:t>
            </a:r>
            <a:r>
              <a:rPr lang="ru-RU" sz="1400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фазасы</a:t>
            </a:r>
            <a:r>
              <a:rPr lang="ru-RU" sz="1400" dirty="0">
                <a:latin typeface="Century Gothic" panose="020B0502020202020204" pitchFamily="34" charset="0"/>
                <a:ea typeface="Tahoma"/>
                <a:cs typeface="Tahoma"/>
                <a:sym typeface="Tahoma"/>
              </a:rPr>
              <a:t>)</a:t>
            </a:r>
            <a:endParaRPr lang="ru-RU" sz="1400" dirty="0">
              <a:solidFill>
                <a:schemeClr val="tx1"/>
              </a:solidFill>
              <a:latin typeface="Century Gothic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06881E8-402E-425D-81B1-88CA689D6AC3}"/>
              </a:ext>
            </a:extLst>
          </p:cNvPr>
          <p:cNvSpPr/>
          <p:nvPr/>
        </p:nvSpPr>
        <p:spPr>
          <a:xfrm>
            <a:off x="1796559" y="1855928"/>
            <a:ext cx="590695" cy="67800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81A84C52-F91D-4413-A749-C1DEE957A653}"/>
              </a:ext>
            </a:extLst>
          </p:cNvPr>
          <p:cNvSpPr/>
          <p:nvPr/>
        </p:nvSpPr>
        <p:spPr>
          <a:xfrm>
            <a:off x="2544950" y="2704935"/>
            <a:ext cx="7421306" cy="678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Бірыңғай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кезекші-диспетчерлік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қызмет-112</a:t>
            </a:r>
          </a:p>
          <a:p>
            <a:pPr algn="ctr"/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жобаны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енгізудің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белсенді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фазасы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49ED4D76-A87A-4261-941C-09F88AB9DA4E}"/>
              </a:ext>
            </a:extLst>
          </p:cNvPr>
          <p:cNvSpPr/>
          <p:nvPr/>
        </p:nvSpPr>
        <p:spPr>
          <a:xfrm>
            <a:off x="1783108" y="2704933"/>
            <a:ext cx="590695" cy="678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Century Gothic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63057F3-E01D-4684-B11C-29241D95EB32}"/>
              </a:ext>
            </a:extLst>
          </p:cNvPr>
          <p:cNvSpPr/>
          <p:nvPr/>
        </p:nvSpPr>
        <p:spPr>
          <a:xfrm>
            <a:off x="2544950" y="3569012"/>
            <a:ext cx="7421306" cy="67800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Бірыңғай</a:t>
            </a:r>
            <a:r>
              <a:rPr lang="ru-RU" sz="1400" b="1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байланыс</a:t>
            </a:r>
            <a:r>
              <a:rPr lang="ru-RU" sz="1400" b="1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орталығы</a:t>
            </a:r>
            <a:r>
              <a:rPr lang="ru-RU" sz="1400" b="1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 109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жобаны</a:t>
            </a:r>
            <a:r>
              <a:rPr lang="ru-RU" sz="1400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дайындау</a:t>
            </a:r>
            <a:r>
              <a:rPr lang="ru-RU" sz="1400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97448036-E550-4DB3-89A0-C25B8AE2A389}"/>
              </a:ext>
            </a:extLst>
          </p:cNvPr>
          <p:cNvSpPr/>
          <p:nvPr/>
        </p:nvSpPr>
        <p:spPr>
          <a:xfrm>
            <a:off x="1783108" y="3569010"/>
            <a:ext cx="590695" cy="678007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tx1"/>
                </a:solidFill>
                <a:latin typeface="Century Gothic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4746BF15-F8BC-4174-BF83-699804475286}"/>
              </a:ext>
            </a:extLst>
          </p:cNvPr>
          <p:cNvSpPr/>
          <p:nvPr/>
        </p:nvSpPr>
        <p:spPr>
          <a:xfrm>
            <a:off x="2558401" y="4471147"/>
            <a:ext cx="7421306" cy="678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«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Ақылды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»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бағдаршамдар</a:t>
            </a:r>
            <a:endParaRPr lang="ru-RU" sz="1400" b="1" dirty="0">
              <a:latin typeface="Century Gothic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жобаны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дайындау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6D1430ED-8DB4-4782-836B-C126B352299F}"/>
              </a:ext>
            </a:extLst>
          </p:cNvPr>
          <p:cNvSpPr/>
          <p:nvPr/>
        </p:nvSpPr>
        <p:spPr>
          <a:xfrm>
            <a:off x="1796559" y="4471145"/>
            <a:ext cx="590695" cy="67800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Century Gothic" pitchFamily="34" charset="0"/>
                <a:cs typeface="Arial" panose="020B0604020202020204" pitchFamily="34" charset="0"/>
              </a:rPr>
              <a:t>5</a:t>
            </a:r>
            <a:endParaRPr lang="ru-RU" sz="1600" dirty="0">
              <a:latin typeface="Century Gothic" pitchFamily="34" charset="0"/>
              <a:cs typeface="Arial" panose="020B0604020202020204" pitchFamily="34" charset="0"/>
            </a:endParaRPr>
          </a:p>
        </p:txBody>
      </p:sp>
      <p:sp>
        <p:nvSpPr>
          <p:cNvPr id="52" name="object 7">
            <a:extLst>
              <a:ext uri="{FF2B5EF4-FFF2-40B4-BE49-F238E27FC236}">
                <a16:creationId xmlns:a16="http://schemas.microsoft.com/office/drawing/2014/main" id="{DCB05F8A-C0CB-4C50-A13D-9D77D0C4C6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983200" y="298461"/>
            <a:ext cx="6745015" cy="75084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ctr">
              <a:spcBef>
                <a:spcPts val="95"/>
              </a:spcBef>
            </a:pPr>
            <a:r>
              <a:rPr lang="ru-RU" sz="2400" spc="-10" dirty="0">
                <a:latin typeface="Century Gothic" pitchFamily="34" charset="0"/>
              </a:rPr>
              <a:t>2022 </a:t>
            </a:r>
            <a:r>
              <a:rPr lang="ru-RU" sz="2400" spc="-10" dirty="0" err="1">
                <a:latin typeface="Century Gothic" pitchFamily="34" charset="0"/>
              </a:rPr>
              <a:t>жылдың</a:t>
            </a:r>
            <a:r>
              <a:rPr lang="ru-RU" sz="2400" spc="-10" dirty="0">
                <a:latin typeface="Century Gothic" pitchFamily="34" charset="0"/>
              </a:rPr>
              <a:t> 2 </a:t>
            </a:r>
            <a:r>
              <a:rPr lang="ru-RU" sz="2400" spc="-10" dirty="0" err="1">
                <a:latin typeface="Century Gothic" pitchFamily="34" charset="0"/>
              </a:rPr>
              <a:t>жартыжылдығына</a:t>
            </a:r>
            <a:r>
              <a:rPr lang="ru-RU" sz="2400" spc="-10" dirty="0">
                <a:latin typeface="Century Gothic" pitchFamily="34" charset="0"/>
              </a:rPr>
              <a:t> </a:t>
            </a:r>
            <a:r>
              <a:rPr lang="ru-RU" sz="2400" spc="-10" dirty="0" err="1">
                <a:latin typeface="Century Gothic" pitchFamily="34" charset="0"/>
              </a:rPr>
              <a:t>арналған</a:t>
            </a:r>
            <a:r>
              <a:rPr lang="ru-RU" sz="2400" spc="-10" dirty="0">
                <a:latin typeface="Century Gothic" pitchFamily="34" charset="0"/>
              </a:rPr>
              <a:t> </a:t>
            </a:r>
            <a:r>
              <a:rPr lang="ru-RU" sz="2400" spc="-10" dirty="0" err="1">
                <a:latin typeface="Century Gothic" pitchFamily="34" charset="0"/>
              </a:rPr>
              <a:t>жоспарлар</a:t>
            </a:r>
            <a:r>
              <a:rPr lang="ru-RU" sz="2400" spc="-10" dirty="0">
                <a:latin typeface="Century Gothic" pitchFamily="34" charset="0"/>
              </a:rPr>
              <a:t>:</a:t>
            </a:r>
            <a:endParaRPr sz="2400" spc="-10" dirty="0">
              <a:latin typeface="Century Gothic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5D2A0A7-71E7-4ADF-833F-E6EC4C3F37AD}"/>
              </a:ext>
            </a:extLst>
          </p:cNvPr>
          <p:cNvSpPr/>
          <p:nvPr/>
        </p:nvSpPr>
        <p:spPr>
          <a:xfrm>
            <a:off x="2558401" y="5373280"/>
            <a:ext cx="7421306" cy="67800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Алматы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қаласы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Ахуалдық</a:t>
            </a:r>
            <a:r>
              <a:rPr lang="ru-RU" sz="1400" b="1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latin typeface="Century Gothic" pitchFamily="34" charset="0"/>
                <a:cs typeface="Arial" panose="020B0604020202020204" pitchFamily="34" charset="0"/>
              </a:rPr>
              <a:t>орталығы</a:t>
            </a:r>
            <a:endParaRPr lang="ru-RU" sz="1400" b="1" dirty="0">
              <a:latin typeface="Century Gothic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(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жаңа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модульдерді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latin typeface="Century Gothic" pitchFamily="34" charset="0"/>
                <a:cs typeface="Arial" panose="020B0604020202020204" pitchFamily="34" charset="0"/>
              </a:rPr>
              <a:t>әзірлеу</a:t>
            </a:r>
            <a:r>
              <a:rPr lang="ru-RU" sz="1400" dirty="0">
                <a:latin typeface="Century Gothic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37247F68-429F-4EEF-97D3-212AAB53242C}"/>
              </a:ext>
            </a:extLst>
          </p:cNvPr>
          <p:cNvSpPr/>
          <p:nvPr/>
        </p:nvSpPr>
        <p:spPr>
          <a:xfrm>
            <a:off x="1796559" y="5373278"/>
            <a:ext cx="590695" cy="678007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Century Gothic" pitchFamily="34" charset="0"/>
                <a:cs typeface="Arial" panose="020B06040202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2215951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31" name="Группа 30"/>
          <p:cNvGrpSpPr/>
          <p:nvPr/>
        </p:nvGrpSpPr>
        <p:grpSpPr>
          <a:xfrm>
            <a:off x="179833" y="178307"/>
            <a:ext cx="11832336" cy="6501384"/>
            <a:chOff x="275623" y="485074"/>
            <a:chExt cx="11832336" cy="6501384"/>
          </a:xfrm>
        </p:grpSpPr>
        <p:sp>
          <p:nvSpPr>
            <p:cNvPr id="2" name="object 2"/>
            <p:cNvSpPr/>
            <p:nvPr/>
          </p:nvSpPr>
          <p:spPr>
            <a:xfrm>
              <a:off x="275789" y="486770"/>
              <a:ext cx="11832005" cy="649799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75623" y="485074"/>
              <a:ext cx="11832336" cy="6501384"/>
            </a:xfrm>
            <a:prstGeom prst="rect">
              <a:avLst/>
            </a:prstGeom>
            <a:solidFill>
              <a:srgbClr val="1F385D">
                <a:alpha val="9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773317" y="762001"/>
            <a:ext cx="3341484" cy="702091"/>
            <a:chOff x="773316" y="773317"/>
            <a:chExt cx="3572756" cy="75068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73316" y="773317"/>
              <a:ext cx="3572756" cy="750684"/>
              <a:chOff x="1973415" y="39706"/>
              <a:chExt cx="8351686" cy="1754802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38738" y="110040"/>
                <a:ext cx="5186363" cy="1604999"/>
              </a:xfrm>
              <a:prstGeom prst="rect">
                <a:avLst/>
              </a:prstGeom>
            </p:spPr>
          </p:pic>
          <p:pic>
            <p:nvPicPr>
              <p:cNvPr id="22" name="Рисунок 2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3415" y="39706"/>
                <a:ext cx="1754801" cy="1754802"/>
              </a:xfrm>
              <a:prstGeom prst="rect">
                <a:avLst/>
              </a:prstGeom>
            </p:spPr>
          </p:pic>
        </p:grp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828800" y="856034"/>
              <a:ext cx="0" cy="658239"/>
            </a:xfrm>
            <a:prstGeom prst="line">
              <a:avLst/>
            </a:prstGeom>
            <a:ln>
              <a:solidFill>
                <a:schemeClr val="bg1">
                  <a:lumMod val="75000"/>
                  <a:alpha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FF8B1D8F-9F42-4D85-BDA9-E05E0730DA33}"/>
              </a:ext>
            </a:extLst>
          </p:cNvPr>
          <p:cNvSpPr txBox="1">
            <a:spLocks/>
          </p:cNvSpPr>
          <p:nvPr/>
        </p:nvSpPr>
        <p:spPr>
          <a:xfrm>
            <a:off x="228600" y="4495800"/>
            <a:ext cx="11658600" cy="4242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 algn="r">
              <a:lnSpc>
                <a:spcPct val="150000"/>
              </a:lnSpc>
              <a:spcBef>
                <a:spcPts val="100"/>
              </a:spcBef>
              <a:tabLst>
                <a:tab pos="1936114" algn="l"/>
                <a:tab pos="2169795" algn="l"/>
                <a:tab pos="3376929" algn="l"/>
                <a:tab pos="4213225" algn="l"/>
                <a:tab pos="6055995" algn="l"/>
              </a:tabLst>
            </a:pP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Өзгерістерді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басқару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және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процестік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даму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бөлімінің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есебі</a:t>
            </a:r>
            <a:endParaRPr lang="ru-RU" kern="0" spc="100" dirty="0">
              <a:solidFill>
                <a:srgbClr val="FFFFFF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34776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72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3" name="Группа 7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94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95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  <p:grpSp>
          <p:nvGrpSpPr>
            <p:cNvPr id="4" name="Группа 85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90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91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</p:grpSp>
      <p:cxnSp>
        <p:nvCxnSpPr>
          <p:cNvPr id="111" name="Прямая соединительная линия 110"/>
          <p:cNvCxnSpPr/>
          <p:nvPr/>
        </p:nvCxnSpPr>
        <p:spPr>
          <a:xfrm>
            <a:off x="152400" y="1524000"/>
            <a:ext cx="117994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bject 6"/>
          <p:cNvSpPr txBox="1">
            <a:spLocks/>
          </p:cNvSpPr>
          <p:nvPr/>
        </p:nvSpPr>
        <p:spPr>
          <a:xfrm>
            <a:off x="951978" y="1099639"/>
            <a:ext cx="1067447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>
              <a:spcBef>
                <a:spcPts val="100"/>
              </a:spcBef>
            </a:pPr>
            <a:r>
              <a:rPr lang="ru-RU" kern="0" spc="100" dirty="0" err="1">
                <a:solidFill>
                  <a:schemeClr val="tx1"/>
                </a:solidFill>
                <a:latin typeface="Century Gothic" pitchFamily="34" charset="0"/>
              </a:rPr>
              <a:t>Өзгерістерді</a:t>
            </a:r>
            <a:r>
              <a:rPr lang="ru-RU" kern="0" spc="100" dirty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chemeClr val="tx1"/>
                </a:solidFill>
                <a:latin typeface="Century Gothic" pitchFamily="34" charset="0"/>
              </a:rPr>
              <a:t>басқару</a:t>
            </a:r>
            <a:r>
              <a:rPr lang="ru-RU" kern="0" spc="100" dirty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chemeClr val="tx1"/>
                </a:solidFill>
                <a:latin typeface="Century Gothic" pitchFamily="34" charset="0"/>
              </a:rPr>
              <a:t>және</a:t>
            </a:r>
            <a:r>
              <a:rPr lang="ru-RU" kern="0" spc="100" dirty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chemeClr val="tx1"/>
                </a:solidFill>
                <a:latin typeface="Century Gothic" pitchFamily="34" charset="0"/>
              </a:rPr>
              <a:t>процестік</a:t>
            </a:r>
            <a:r>
              <a:rPr lang="ru-RU" kern="0" spc="100" dirty="0">
                <a:solidFill>
                  <a:schemeClr val="tx1"/>
                </a:solidFill>
                <a:latin typeface="Century Gothic" pitchFamily="34" charset="0"/>
              </a:rPr>
              <a:t> даму </a:t>
            </a:r>
            <a:r>
              <a:rPr lang="ru-RU" kern="0" spc="100" dirty="0" err="1">
                <a:solidFill>
                  <a:schemeClr val="tx1"/>
                </a:solidFill>
                <a:latin typeface="Century Gothic" pitchFamily="34" charset="0"/>
              </a:rPr>
              <a:t>бөлімі</a:t>
            </a:r>
            <a:endParaRPr lang="ru-RU" kern="0" spc="2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grpSp>
        <p:nvGrpSpPr>
          <p:cNvPr id="5" name="Группа 5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5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  <p:sp>
          <p:nvSpPr>
            <p:cNvPr id="61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  <p:sp>
          <p:nvSpPr>
            <p:cNvPr id="62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  <p:sp>
          <p:nvSpPr>
            <p:cNvPr id="63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</p:grpSp>
      <p:grpSp>
        <p:nvGrpSpPr>
          <p:cNvPr id="6" name="Группа 68"/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7" name="Группа 73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83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84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  <p:grpSp>
          <p:nvGrpSpPr>
            <p:cNvPr id="8" name="Группа 74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77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78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</p:grpSp>
      <p:pic>
        <p:nvPicPr>
          <p:cNvPr id="26" name="Рисунок 2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1000" y="1143000"/>
            <a:ext cx="314325" cy="256800"/>
          </a:xfrm>
          <a:prstGeom prst="rect">
            <a:avLst/>
          </a:prstGeom>
        </p:spPr>
      </p:pic>
      <p:grpSp>
        <p:nvGrpSpPr>
          <p:cNvPr id="32" name="Группа 31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34" name="Группа 7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38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39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  <p:grpSp>
          <p:nvGrpSpPr>
            <p:cNvPr id="35" name="Группа 85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36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37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</p:grpSp>
      <p:grpSp>
        <p:nvGrpSpPr>
          <p:cNvPr id="41" name="Группа 40"/>
          <p:cNvGrpSpPr/>
          <p:nvPr/>
        </p:nvGrpSpPr>
        <p:grpSpPr>
          <a:xfrm>
            <a:off x="-1343" y="0"/>
            <a:ext cx="12193343" cy="382587"/>
            <a:chOff x="0" y="6401651"/>
            <a:chExt cx="12193343" cy="382587"/>
          </a:xfrm>
        </p:grpSpPr>
        <p:grpSp>
          <p:nvGrpSpPr>
            <p:cNvPr id="42" name="Группа 45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46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47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  <p:grpSp>
          <p:nvGrpSpPr>
            <p:cNvPr id="43" name="Группа 52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44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  <p:sp>
            <p:nvSpPr>
              <p:cNvPr id="45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>
                  <a:latin typeface="Century Gothic" pitchFamily="34" charset="0"/>
                </a:endParaRPr>
              </a:p>
            </p:txBody>
          </p:sp>
        </p:grpSp>
      </p:grpSp>
      <p:grpSp>
        <p:nvGrpSpPr>
          <p:cNvPr id="48" name="Группа 4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4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  <p:sp>
          <p:nvSpPr>
            <p:cNvPr id="50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  <p:sp>
          <p:nvSpPr>
            <p:cNvPr id="51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  <p:sp>
          <p:nvSpPr>
            <p:cNvPr id="52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dirty="0">
                <a:latin typeface="Century Gothic" pitchFamily="34" charset="0"/>
              </a:endParaRPr>
            </a:p>
          </p:txBody>
        </p:sp>
      </p:grpSp>
      <p:grpSp>
        <p:nvGrpSpPr>
          <p:cNvPr id="55" name="Группа 54"/>
          <p:cNvGrpSpPr/>
          <p:nvPr/>
        </p:nvGrpSpPr>
        <p:grpSpPr>
          <a:xfrm>
            <a:off x="418736" y="4879917"/>
            <a:ext cx="333886" cy="305948"/>
            <a:chOff x="8129588" y="19050"/>
            <a:chExt cx="1176338" cy="1077913"/>
          </a:xfrm>
        </p:grpSpPr>
        <p:sp>
          <p:nvSpPr>
            <p:cNvPr id="56" name="Freeform 8"/>
            <p:cNvSpPr>
              <a:spLocks/>
            </p:cNvSpPr>
            <p:nvPr/>
          </p:nvSpPr>
          <p:spPr bwMode="auto">
            <a:xfrm>
              <a:off x="9161463" y="619125"/>
              <a:ext cx="144463" cy="33338"/>
            </a:xfrm>
            <a:custGeom>
              <a:avLst/>
              <a:gdLst>
                <a:gd name="T0" fmla="*/ 13 w 13"/>
                <a:gd name="T1" fmla="*/ 0 h 3"/>
                <a:gd name="T2" fmla="*/ 0 w 13"/>
                <a:gd name="T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3" h="3">
                  <a:moveTo>
                    <a:pt x="13" y="0"/>
                  </a:moveTo>
                  <a:cubicBezTo>
                    <a:pt x="13" y="0"/>
                    <a:pt x="1" y="1"/>
                    <a:pt x="0" y="3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58" name="Freeform 9"/>
            <p:cNvSpPr>
              <a:spLocks/>
            </p:cNvSpPr>
            <p:nvPr/>
          </p:nvSpPr>
          <p:spPr bwMode="auto">
            <a:xfrm>
              <a:off x="8850313" y="330200"/>
              <a:ext cx="344488" cy="455613"/>
            </a:xfrm>
            <a:custGeom>
              <a:avLst/>
              <a:gdLst>
                <a:gd name="T0" fmla="*/ 0 w 31"/>
                <a:gd name="T1" fmla="*/ 0 h 41"/>
                <a:gd name="T2" fmla="*/ 27 w 31"/>
                <a:gd name="T3" fmla="*/ 27 h 41"/>
                <a:gd name="T4" fmla="*/ 28 w 31"/>
                <a:gd name="T5" fmla="*/ 29 h 41"/>
                <a:gd name="T6" fmla="*/ 27 w 31"/>
                <a:gd name="T7" fmla="*/ 39 h 41"/>
                <a:gd name="T8" fmla="*/ 17 w 31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41">
                  <a:moveTo>
                    <a:pt x="0" y="0"/>
                  </a:moveTo>
                  <a:cubicBezTo>
                    <a:pt x="27" y="27"/>
                    <a:pt x="27" y="27"/>
                    <a:pt x="27" y="27"/>
                  </a:cubicBezTo>
                  <a:cubicBezTo>
                    <a:pt x="28" y="29"/>
                    <a:pt x="28" y="29"/>
                    <a:pt x="28" y="29"/>
                  </a:cubicBezTo>
                  <a:cubicBezTo>
                    <a:pt x="31" y="32"/>
                    <a:pt x="30" y="36"/>
                    <a:pt x="27" y="39"/>
                  </a:cubicBezTo>
                  <a:cubicBezTo>
                    <a:pt x="24" y="41"/>
                    <a:pt x="20" y="41"/>
                    <a:pt x="17" y="3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8905875" y="741363"/>
              <a:ext cx="166688" cy="144463"/>
            </a:xfrm>
            <a:custGeom>
              <a:avLst/>
              <a:gdLst>
                <a:gd name="T0" fmla="*/ 11 w 15"/>
                <a:gd name="T1" fmla="*/ 0 h 13"/>
                <a:gd name="T2" fmla="*/ 12 w 15"/>
                <a:gd name="T3" fmla="*/ 1 h 13"/>
                <a:gd name="T4" fmla="*/ 11 w 15"/>
                <a:gd name="T5" fmla="*/ 11 h 13"/>
                <a:gd name="T6" fmla="*/ 1 w 15"/>
                <a:gd name="T7" fmla="*/ 10 h 13"/>
                <a:gd name="T8" fmla="*/ 0 w 15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3">
                  <a:moveTo>
                    <a:pt x="11" y="0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15" y="4"/>
                    <a:pt x="14" y="8"/>
                    <a:pt x="11" y="11"/>
                  </a:cubicBezTo>
                  <a:cubicBezTo>
                    <a:pt x="8" y="13"/>
                    <a:pt x="3" y="13"/>
                    <a:pt x="1" y="10"/>
                  </a:cubicBezTo>
                  <a:cubicBezTo>
                    <a:pt x="0" y="9"/>
                    <a:pt x="0" y="9"/>
                    <a:pt x="0" y="9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64" name="Freeform 11"/>
            <p:cNvSpPr>
              <a:spLocks/>
            </p:cNvSpPr>
            <p:nvPr/>
          </p:nvSpPr>
          <p:spPr bwMode="auto">
            <a:xfrm>
              <a:off x="8794750" y="852488"/>
              <a:ext cx="144463" cy="144463"/>
            </a:xfrm>
            <a:custGeom>
              <a:avLst/>
              <a:gdLst>
                <a:gd name="T0" fmla="*/ 11 w 13"/>
                <a:gd name="T1" fmla="*/ 0 h 13"/>
                <a:gd name="T2" fmla="*/ 10 w 13"/>
                <a:gd name="T3" fmla="*/ 10 h 13"/>
                <a:gd name="T4" fmla="*/ 0 w 13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11" y="0"/>
                  </a:moveTo>
                  <a:cubicBezTo>
                    <a:pt x="13" y="3"/>
                    <a:pt x="13" y="8"/>
                    <a:pt x="10" y="10"/>
                  </a:cubicBezTo>
                  <a:cubicBezTo>
                    <a:pt x="7" y="13"/>
                    <a:pt x="2" y="12"/>
                    <a:pt x="0" y="9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65" name="Freeform 12"/>
            <p:cNvSpPr>
              <a:spLocks/>
            </p:cNvSpPr>
            <p:nvPr/>
          </p:nvSpPr>
          <p:spPr bwMode="auto">
            <a:xfrm>
              <a:off x="8650288" y="941388"/>
              <a:ext cx="166688" cy="155575"/>
            </a:xfrm>
            <a:custGeom>
              <a:avLst/>
              <a:gdLst>
                <a:gd name="T0" fmla="*/ 12 w 15"/>
                <a:gd name="T1" fmla="*/ 0 h 14"/>
                <a:gd name="T2" fmla="*/ 13 w 15"/>
                <a:gd name="T3" fmla="*/ 1 h 14"/>
                <a:gd name="T4" fmla="*/ 12 w 15"/>
                <a:gd name="T5" fmla="*/ 11 h 14"/>
                <a:gd name="T6" fmla="*/ 1 w 15"/>
                <a:gd name="T7" fmla="*/ 10 h 14"/>
                <a:gd name="T8" fmla="*/ 0 w 15"/>
                <a:gd name="T9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2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5" y="4"/>
                    <a:pt x="15" y="9"/>
                    <a:pt x="12" y="11"/>
                  </a:cubicBezTo>
                  <a:cubicBezTo>
                    <a:pt x="8" y="14"/>
                    <a:pt x="4" y="13"/>
                    <a:pt x="1" y="10"/>
                  </a:cubicBezTo>
                  <a:cubicBezTo>
                    <a:pt x="0" y="9"/>
                    <a:pt x="0" y="9"/>
                    <a:pt x="0" y="9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66" name="Freeform 13"/>
            <p:cNvSpPr>
              <a:spLocks/>
            </p:cNvSpPr>
            <p:nvPr/>
          </p:nvSpPr>
          <p:spPr bwMode="auto">
            <a:xfrm>
              <a:off x="8129588" y="74613"/>
              <a:ext cx="598488" cy="66675"/>
            </a:xfrm>
            <a:custGeom>
              <a:avLst/>
              <a:gdLst>
                <a:gd name="T0" fmla="*/ 0 w 377"/>
                <a:gd name="T1" fmla="*/ 0 h 42"/>
                <a:gd name="T2" fmla="*/ 139 w 377"/>
                <a:gd name="T3" fmla="*/ 42 h 42"/>
                <a:gd name="T4" fmla="*/ 377 w 377"/>
                <a:gd name="T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77" h="42">
                  <a:moveTo>
                    <a:pt x="0" y="0"/>
                  </a:moveTo>
                  <a:lnTo>
                    <a:pt x="139" y="42"/>
                  </a:lnTo>
                  <a:lnTo>
                    <a:pt x="377" y="4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67" name="Line 14"/>
            <p:cNvSpPr>
              <a:spLocks noChangeShapeType="1"/>
            </p:cNvSpPr>
            <p:nvPr/>
          </p:nvSpPr>
          <p:spPr bwMode="auto">
            <a:xfrm>
              <a:off x="8129588" y="596900"/>
              <a:ext cx="111125" cy="33338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68" name="Freeform 15"/>
            <p:cNvSpPr>
              <a:spLocks/>
            </p:cNvSpPr>
            <p:nvPr/>
          </p:nvSpPr>
          <p:spPr bwMode="auto">
            <a:xfrm>
              <a:off x="8428038" y="19050"/>
              <a:ext cx="877888" cy="388938"/>
            </a:xfrm>
            <a:custGeom>
              <a:avLst/>
              <a:gdLst>
                <a:gd name="T0" fmla="*/ 79 w 79"/>
                <a:gd name="T1" fmla="*/ 6 h 35"/>
                <a:gd name="T2" fmla="*/ 68 w 79"/>
                <a:gd name="T3" fmla="*/ 9 h 35"/>
                <a:gd name="T4" fmla="*/ 57 w 79"/>
                <a:gd name="T5" fmla="*/ 8 h 35"/>
                <a:gd name="T6" fmla="*/ 43 w 79"/>
                <a:gd name="T7" fmla="*/ 3 h 35"/>
                <a:gd name="T8" fmla="*/ 0 w 79"/>
                <a:gd name="T9" fmla="*/ 26 h 35"/>
                <a:gd name="T10" fmla="*/ 13 w 79"/>
                <a:gd name="T11" fmla="*/ 35 h 35"/>
                <a:gd name="T12" fmla="*/ 38 w 79"/>
                <a:gd name="T13" fmla="*/ 28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9" h="35">
                  <a:moveTo>
                    <a:pt x="79" y="6"/>
                  </a:moveTo>
                  <a:cubicBezTo>
                    <a:pt x="79" y="6"/>
                    <a:pt x="70" y="9"/>
                    <a:pt x="68" y="9"/>
                  </a:cubicBezTo>
                  <a:cubicBezTo>
                    <a:pt x="66" y="10"/>
                    <a:pt x="62" y="11"/>
                    <a:pt x="57" y="8"/>
                  </a:cubicBezTo>
                  <a:cubicBezTo>
                    <a:pt x="53" y="5"/>
                    <a:pt x="50" y="0"/>
                    <a:pt x="43" y="3"/>
                  </a:cubicBezTo>
                  <a:cubicBezTo>
                    <a:pt x="35" y="7"/>
                    <a:pt x="0" y="26"/>
                    <a:pt x="0" y="26"/>
                  </a:cubicBezTo>
                  <a:cubicBezTo>
                    <a:pt x="0" y="26"/>
                    <a:pt x="4" y="35"/>
                    <a:pt x="13" y="35"/>
                  </a:cubicBezTo>
                  <a:cubicBezTo>
                    <a:pt x="21" y="35"/>
                    <a:pt x="38" y="28"/>
                    <a:pt x="38" y="28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70" name="Freeform 16"/>
            <p:cNvSpPr>
              <a:spLocks/>
            </p:cNvSpPr>
            <p:nvPr/>
          </p:nvSpPr>
          <p:spPr bwMode="auto">
            <a:xfrm>
              <a:off x="8328025" y="708025"/>
              <a:ext cx="133350" cy="144463"/>
            </a:xfrm>
            <a:custGeom>
              <a:avLst/>
              <a:gdLst>
                <a:gd name="T0" fmla="*/ 3 w 12"/>
                <a:gd name="T1" fmla="*/ 0 h 13"/>
                <a:gd name="T2" fmla="*/ 2 w 12"/>
                <a:gd name="T3" fmla="*/ 1 h 13"/>
                <a:gd name="T4" fmla="*/ 2 w 12"/>
                <a:gd name="T5" fmla="*/ 10 h 13"/>
                <a:gd name="T6" fmla="*/ 12 w 12"/>
                <a:gd name="T7" fmla="*/ 11 h 13"/>
                <a:gd name="T8" fmla="*/ 12 w 12"/>
                <a:gd name="T9" fmla="*/ 1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3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0" y="4"/>
                    <a:pt x="0" y="8"/>
                    <a:pt x="2" y="10"/>
                  </a:cubicBezTo>
                  <a:cubicBezTo>
                    <a:pt x="5" y="13"/>
                    <a:pt x="9" y="13"/>
                    <a:pt x="12" y="11"/>
                  </a:cubicBezTo>
                  <a:cubicBezTo>
                    <a:pt x="12" y="10"/>
                    <a:pt x="12" y="10"/>
                    <a:pt x="12" y="10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8383588" y="663575"/>
              <a:ext cx="133350" cy="133350"/>
            </a:xfrm>
            <a:custGeom>
              <a:avLst/>
              <a:gdLst>
                <a:gd name="T0" fmla="*/ 0 w 12"/>
                <a:gd name="T1" fmla="*/ 3 h 12"/>
                <a:gd name="T2" fmla="*/ 0 w 12"/>
                <a:gd name="T3" fmla="*/ 3 h 12"/>
                <a:gd name="T4" fmla="*/ 9 w 12"/>
                <a:gd name="T5" fmla="*/ 3 h 12"/>
                <a:gd name="T6" fmla="*/ 9 w 12"/>
                <a:gd name="T7" fmla="*/ 12 h 12"/>
                <a:gd name="T8" fmla="*/ 9 w 12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0"/>
                    <a:pt x="7" y="0"/>
                    <a:pt x="9" y="3"/>
                  </a:cubicBezTo>
                  <a:cubicBezTo>
                    <a:pt x="12" y="6"/>
                    <a:pt x="12" y="10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72" name="Freeform 18"/>
            <p:cNvSpPr>
              <a:spLocks/>
            </p:cNvSpPr>
            <p:nvPr/>
          </p:nvSpPr>
          <p:spPr bwMode="auto">
            <a:xfrm>
              <a:off x="8229600" y="563563"/>
              <a:ext cx="187325" cy="188913"/>
            </a:xfrm>
            <a:custGeom>
              <a:avLst/>
              <a:gdLst>
                <a:gd name="T0" fmla="*/ 5 w 17"/>
                <a:gd name="T1" fmla="*/ 2 h 17"/>
                <a:gd name="T2" fmla="*/ 4 w 17"/>
                <a:gd name="T3" fmla="*/ 3 h 17"/>
                <a:gd name="T4" fmla="*/ 3 w 17"/>
                <a:gd name="T5" fmla="*/ 4 h 17"/>
                <a:gd name="T6" fmla="*/ 2 w 17"/>
                <a:gd name="T7" fmla="*/ 5 h 17"/>
                <a:gd name="T8" fmla="*/ 2 w 17"/>
                <a:gd name="T9" fmla="*/ 14 h 17"/>
                <a:gd name="T10" fmla="*/ 11 w 17"/>
                <a:gd name="T11" fmla="*/ 14 h 17"/>
                <a:gd name="T12" fmla="*/ 12 w 17"/>
                <a:gd name="T13" fmla="*/ 13 h 17"/>
                <a:gd name="T14" fmla="*/ 14 w 17"/>
                <a:gd name="T15" fmla="*/ 12 h 17"/>
                <a:gd name="T16" fmla="*/ 14 w 17"/>
                <a:gd name="T17" fmla="*/ 12 h 17"/>
                <a:gd name="T18" fmla="*/ 14 w 17"/>
                <a:gd name="T19" fmla="*/ 2 h 17"/>
                <a:gd name="T20" fmla="*/ 5 w 17"/>
                <a:gd name="T2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5" y="2"/>
                  </a:moveTo>
                  <a:cubicBezTo>
                    <a:pt x="4" y="3"/>
                    <a:pt x="4" y="3"/>
                    <a:pt x="4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0" y="7"/>
                    <a:pt x="0" y="11"/>
                    <a:pt x="2" y="14"/>
                  </a:cubicBezTo>
                  <a:cubicBezTo>
                    <a:pt x="5" y="16"/>
                    <a:pt x="9" y="17"/>
                    <a:pt x="11" y="14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6" y="9"/>
                    <a:pt x="17" y="5"/>
                    <a:pt x="14" y="2"/>
                  </a:cubicBezTo>
                  <a:cubicBezTo>
                    <a:pt x="12" y="0"/>
                    <a:pt x="7" y="0"/>
                    <a:pt x="5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73" name="Freeform 19"/>
            <p:cNvSpPr>
              <a:spLocks/>
            </p:cNvSpPr>
            <p:nvPr/>
          </p:nvSpPr>
          <p:spPr bwMode="auto">
            <a:xfrm>
              <a:off x="8428038" y="774700"/>
              <a:ext cx="188913" cy="188913"/>
            </a:xfrm>
            <a:custGeom>
              <a:avLst/>
              <a:gdLst>
                <a:gd name="T0" fmla="*/ 5 w 17"/>
                <a:gd name="T1" fmla="*/ 2 h 17"/>
                <a:gd name="T2" fmla="*/ 5 w 17"/>
                <a:gd name="T3" fmla="*/ 2 h 17"/>
                <a:gd name="T4" fmla="*/ 3 w 17"/>
                <a:gd name="T5" fmla="*/ 4 h 17"/>
                <a:gd name="T6" fmla="*/ 3 w 17"/>
                <a:gd name="T7" fmla="*/ 5 h 17"/>
                <a:gd name="T8" fmla="*/ 2 w 17"/>
                <a:gd name="T9" fmla="*/ 14 h 17"/>
                <a:gd name="T10" fmla="*/ 12 w 17"/>
                <a:gd name="T11" fmla="*/ 14 h 17"/>
                <a:gd name="T12" fmla="*/ 13 w 17"/>
                <a:gd name="T13" fmla="*/ 13 h 17"/>
                <a:gd name="T14" fmla="*/ 13 w 17"/>
                <a:gd name="T15" fmla="*/ 13 h 17"/>
                <a:gd name="T16" fmla="*/ 14 w 17"/>
                <a:gd name="T17" fmla="*/ 12 h 17"/>
                <a:gd name="T18" fmla="*/ 14 w 17"/>
                <a:gd name="T19" fmla="*/ 3 h 17"/>
                <a:gd name="T20" fmla="*/ 5 w 17"/>
                <a:gd name="T2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0" y="7"/>
                    <a:pt x="0" y="11"/>
                    <a:pt x="2" y="14"/>
                  </a:cubicBezTo>
                  <a:cubicBezTo>
                    <a:pt x="5" y="17"/>
                    <a:pt x="9" y="17"/>
                    <a:pt x="12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7" y="9"/>
                    <a:pt x="17" y="5"/>
                    <a:pt x="14" y="3"/>
                  </a:cubicBezTo>
                  <a:cubicBezTo>
                    <a:pt x="12" y="0"/>
                    <a:pt x="8" y="0"/>
                    <a:pt x="5" y="2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  <p:sp>
          <p:nvSpPr>
            <p:cNvPr id="74" name="Freeform 20"/>
            <p:cNvSpPr>
              <a:spLocks/>
            </p:cNvSpPr>
            <p:nvPr/>
          </p:nvSpPr>
          <p:spPr bwMode="auto">
            <a:xfrm>
              <a:off x="8528050" y="874713"/>
              <a:ext cx="188913" cy="188913"/>
            </a:xfrm>
            <a:custGeom>
              <a:avLst/>
              <a:gdLst>
                <a:gd name="T0" fmla="*/ 5 w 17"/>
                <a:gd name="T1" fmla="*/ 3 h 17"/>
                <a:gd name="T2" fmla="*/ 4 w 17"/>
                <a:gd name="T3" fmla="*/ 4 h 17"/>
                <a:gd name="T4" fmla="*/ 4 w 17"/>
                <a:gd name="T5" fmla="*/ 4 h 17"/>
                <a:gd name="T6" fmla="*/ 3 w 17"/>
                <a:gd name="T7" fmla="*/ 5 h 17"/>
                <a:gd name="T8" fmla="*/ 2 w 17"/>
                <a:gd name="T9" fmla="*/ 14 h 17"/>
                <a:gd name="T10" fmla="*/ 12 w 17"/>
                <a:gd name="T11" fmla="*/ 15 h 17"/>
                <a:gd name="T12" fmla="*/ 13 w 17"/>
                <a:gd name="T13" fmla="*/ 14 h 17"/>
                <a:gd name="T14" fmla="*/ 13 w 17"/>
                <a:gd name="T15" fmla="*/ 13 h 17"/>
                <a:gd name="T16" fmla="*/ 14 w 17"/>
                <a:gd name="T17" fmla="*/ 12 h 17"/>
                <a:gd name="T18" fmla="*/ 14 w 17"/>
                <a:gd name="T19" fmla="*/ 3 h 17"/>
                <a:gd name="T20" fmla="*/ 5 w 17"/>
                <a:gd name="T21" fmla="*/ 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7">
                  <a:moveTo>
                    <a:pt x="5" y="3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0" y="8"/>
                    <a:pt x="0" y="12"/>
                    <a:pt x="2" y="14"/>
                  </a:cubicBezTo>
                  <a:cubicBezTo>
                    <a:pt x="5" y="17"/>
                    <a:pt x="9" y="17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7" y="10"/>
                    <a:pt x="17" y="6"/>
                    <a:pt x="14" y="3"/>
                  </a:cubicBezTo>
                  <a:cubicBezTo>
                    <a:pt x="12" y="0"/>
                    <a:pt x="8" y="0"/>
                    <a:pt x="5" y="3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entury Gothic" pitchFamily="34" charset="0"/>
              </a:endParaRPr>
            </a:p>
          </p:txBody>
        </p:sp>
      </p:grpSp>
      <p:sp>
        <p:nvSpPr>
          <p:cNvPr id="76" name="object 6"/>
          <p:cNvSpPr txBox="1">
            <a:spLocks/>
          </p:cNvSpPr>
          <p:nvPr/>
        </p:nvSpPr>
        <p:spPr>
          <a:xfrm>
            <a:off x="304801" y="1828800"/>
            <a:ext cx="5867399" cy="215187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>
              <a:spcBef>
                <a:spcPts val="100"/>
              </a:spcBef>
            </a:pPr>
            <a:r>
              <a:rPr lang="ru-RU" sz="1600" kern="0" spc="20" dirty="0" err="1">
                <a:latin typeface="Century Gothic" pitchFamily="34" charset="0"/>
              </a:rPr>
              <a:t>Бөлімнің</a:t>
            </a:r>
            <a:r>
              <a:rPr lang="ru-RU" sz="1600" kern="0" spc="20" dirty="0">
                <a:latin typeface="Century Gothic" pitchFamily="34" charset="0"/>
              </a:rPr>
              <a:t> </a:t>
            </a:r>
            <a:r>
              <a:rPr lang="ru-RU" sz="1600" kern="0" spc="20" dirty="0" err="1">
                <a:latin typeface="Century Gothic" pitchFamily="34" charset="0"/>
              </a:rPr>
              <a:t>міндеттері</a:t>
            </a:r>
            <a:r>
              <a:rPr lang="ru-RU" sz="1600" kern="0" spc="20" dirty="0">
                <a:latin typeface="Century Gothic" pitchFamily="34" charset="0"/>
              </a:rPr>
              <a:t>:</a:t>
            </a:r>
          </a:p>
          <a:p>
            <a:pPr marL="12700" marR="5080">
              <a:spcBef>
                <a:spcPts val="100"/>
              </a:spcBef>
            </a:pPr>
            <a:endParaRPr lang="en-US" kern="0" spc="20" dirty="0">
              <a:latin typeface="Century Gothic" pitchFamily="34" charset="0"/>
            </a:endParaRPr>
          </a:p>
          <a:p>
            <a:pPr marL="469900" marR="5080" indent="-457200"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b="0" kern="0" spc="20" dirty="0" err="1">
                <a:latin typeface="Century Gothic" pitchFamily="34" charset="0"/>
              </a:rPr>
              <a:t>Мемлекеттік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көрсетілетін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қызметтер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бойынша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мәселелерді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үйлестіру</a:t>
            </a:r>
            <a:r>
              <a:rPr lang="ru-RU" sz="1400" b="0" kern="0" spc="20" dirty="0">
                <a:latin typeface="Century Gothic" pitchFamily="34" charset="0"/>
              </a:rPr>
              <a:t>;</a:t>
            </a:r>
          </a:p>
          <a:p>
            <a:pPr marL="469900" marR="5080" indent="-457200"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b="0" kern="0" spc="20" dirty="0" err="1">
                <a:latin typeface="Century Gothic" pitchFamily="34" charset="0"/>
              </a:rPr>
              <a:t>Цифрландыру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офисін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үйлестіру</a:t>
            </a:r>
            <a:r>
              <a:rPr lang="ru-RU" sz="1400" b="0" kern="0" spc="20" dirty="0">
                <a:latin typeface="Century Gothic" pitchFamily="34" charset="0"/>
              </a:rPr>
              <a:t>;</a:t>
            </a:r>
          </a:p>
          <a:p>
            <a:pPr marL="469900" marR="5080" indent="-457200"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b="0" kern="0" spc="20" dirty="0">
                <a:latin typeface="Century Gothic" pitchFamily="34" charset="0"/>
              </a:rPr>
              <a:t>Алматы </a:t>
            </a:r>
            <a:r>
              <a:rPr lang="ru-RU" sz="1400" b="0" kern="0" spc="20" dirty="0" err="1">
                <a:latin typeface="Century Gothic" pitchFamily="34" charset="0"/>
              </a:rPr>
              <a:t>қаласы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шеңберінде</a:t>
            </a:r>
            <a:r>
              <a:rPr lang="ru-RU" sz="1400" b="0" kern="0" spc="20" dirty="0">
                <a:latin typeface="Century Gothic" pitchFamily="34" charset="0"/>
              </a:rPr>
              <a:t> интернет </a:t>
            </a:r>
            <a:r>
              <a:rPr lang="ru-RU" sz="1400" b="0" kern="0" spc="20" dirty="0" err="1">
                <a:latin typeface="Century Gothic" pitchFamily="34" charset="0"/>
              </a:rPr>
              <a:t>және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ұялы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байланыс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мәселелері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бойынша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үйлестіру</a:t>
            </a:r>
            <a:r>
              <a:rPr lang="ru-RU" sz="1400" b="0" kern="0" spc="20" dirty="0">
                <a:latin typeface="Century Gothic" pitchFamily="34" charset="0"/>
              </a:rPr>
              <a:t>;</a:t>
            </a:r>
          </a:p>
          <a:p>
            <a:pPr marL="469900" marR="5080" indent="-457200"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b="0" kern="0" spc="20" dirty="0" err="1">
                <a:latin typeface="Century Gothic" pitchFamily="34" charset="0"/>
              </a:rPr>
              <a:t>Қаланың</a:t>
            </a:r>
            <a:r>
              <a:rPr lang="ru-RU" sz="1400" b="0" kern="0" spc="20" dirty="0">
                <a:latin typeface="Century Gothic" pitchFamily="34" charset="0"/>
              </a:rPr>
              <a:t> стартап </a:t>
            </a:r>
            <a:r>
              <a:rPr lang="ru-RU" sz="1400" b="0" kern="0" spc="20" dirty="0" err="1">
                <a:latin typeface="Century Gothic" pitchFamily="34" charset="0"/>
              </a:rPr>
              <a:t>экожүйесін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дамыту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үшін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жағдай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жасау</a:t>
            </a:r>
            <a:endParaRPr lang="ru-RU" sz="1400" b="0" kern="0" spc="20" dirty="0">
              <a:latin typeface="Century Gothic" pitchFamily="34" charset="0"/>
            </a:endParaRPr>
          </a:p>
          <a:p>
            <a:pPr marL="469900" marR="5080" indent="-457200"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b="0" kern="0" spc="20" dirty="0">
                <a:latin typeface="Century Gothic" pitchFamily="34" charset="0"/>
              </a:rPr>
              <a:t>«</a:t>
            </a:r>
            <a:r>
              <a:rPr lang="ru-RU" sz="1400" b="0" kern="0" spc="20" dirty="0" err="1">
                <a:latin typeface="Century Gothic" pitchFamily="34" charset="0"/>
              </a:rPr>
              <a:t>Бірыңғай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коммуникациялық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кеңістік</a:t>
            </a:r>
            <a:r>
              <a:rPr lang="ru-RU" sz="1400" b="0" kern="0" spc="20" dirty="0">
                <a:latin typeface="Century Gothic" pitchFamily="34" charset="0"/>
              </a:rPr>
              <a:t>» </a:t>
            </a:r>
            <a:r>
              <a:rPr lang="ru-RU" sz="1400" b="0" kern="0" spc="20" dirty="0" err="1">
                <a:latin typeface="Century Gothic" pitchFamily="34" charset="0"/>
              </a:rPr>
              <a:t>жобасын</a:t>
            </a:r>
            <a:r>
              <a:rPr lang="ru-RU" sz="1400" b="0" kern="0" spc="20" dirty="0">
                <a:latin typeface="Century Gothic" pitchFamily="34" charset="0"/>
              </a:rPr>
              <a:t> </a:t>
            </a:r>
            <a:r>
              <a:rPr lang="ru-RU" sz="1400" b="0" kern="0" spc="20" dirty="0" err="1">
                <a:latin typeface="Century Gothic" pitchFamily="34" charset="0"/>
              </a:rPr>
              <a:t>үйлестіру</a:t>
            </a:r>
            <a:r>
              <a:rPr lang="ru-RU" sz="1400" b="0" kern="0" spc="20" dirty="0">
                <a:latin typeface="Century Gothic" pitchFamily="34" charset="0"/>
              </a:rPr>
              <a:t>;</a:t>
            </a:r>
            <a:endParaRPr lang="ru-RU" sz="1800" b="0" kern="0" spc="20" dirty="0">
              <a:latin typeface="Century Gothic" pitchFamily="34" charset="0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 flipV="1">
            <a:off x="6324600" y="1723256"/>
            <a:ext cx="0" cy="46482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bject 6">
            <a:extLst>
              <a:ext uri="{FF2B5EF4-FFF2-40B4-BE49-F238E27FC236}">
                <a16:creationId xmlns:a16="http://schemas.microsoft.com/office/drawing/2014/main" id="{387248BA-1592-4D96-87F9-23D9355D9FD6}"/>
              </a:ext>
            </a:extLst>
          </p:cNvPr>
          <p:cNvSpPr txBox="1">
            <a:spLocks/>
          </p:cNvSpPr>
          <p:nvPr/>
        </p:nvSpPr>
        <p:spPr>
          <a:xfrm>
            <a:off x="647691" y="4776909"/>
            <a:ext cx="5246291" cy="874598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 algn="ctr"/>
            <a:r>
              <a:rPr lang="ru-RU" sz="1400" kern="0" spc="50" dirty="0">
                <a:latin typeface="Century Gothic" pitchFamily="34" charset="0"/>
              </a:rPr>
              <a:t>«</a:t>
            </a:r>
            <a:r>
              <a:rPr lang="en-US" sz="1400" kern="0" spc="50" dirty="0">
                <a:latin typeface="Century Gothic" pitchFamily="34" charset="0"/>
              </a:rPr>
              <a:t>E-</a:t>
            </a:r>
            <a:r>
              <a:rPr lang="en-US" sz="1400" kern="0" spc="50" dirty="0" err="1">
                <a:latin typeface="Century Gothic" pitchFamily="34" charset="0"/>
              </a:rPr>
              <a:t>Otinish</a:t>
            </a:r>
            <a:r>
              <a:rPr lang="ru-RU" sz="1400" kern="0" spc="50" dirty="0">
                <a:latin typeface="Century Gothic" pitchFamily="34" charset="0"/>
              </a:rPr>
              <a:t>»</a:t>
            </a:r>
            <a:endParaRPr lang="en-US" sz="1400" kern="0" spc="50" dirty="0">
              <a:latin typeface="Century Gothic" pitchFamily="34" charset="0"/>
            </a:endParaRPr>
          </a:p>
          <a:p>
            <a:pPr marL="12700" marR="5080" algn="ctr"/>
            <a:endParaRPr lang="en-US" sz="1400" kern="0" spc="50" dirty="0">
              <a:latin typeface="Century Gothic" pitchFamily="34" charset="0"/>
            </a:endParaRPr>
          </a:p>
          <a:p>
            <a:pPr marL="12700" marR="5080" algn="just"/>
            <a:r>
              <a:rPr lang="ru-RU" sz="1400" b="0" kern="0" spc="50" dirty="0">
                <a:latin typeface="Century Gothic" pitchFamily="34" charset="0"/>
              </a:rPr>
              <a:t>2022 </a:t>
            </a:r>
            <a:r>
              <a:rPr lang="ru-RU" sz="1400" b="0" kern="0" spc="50" dirty="0" err="1">
                <a:latin typeface="Century Gothic" pitchFamily="34" charset="0"/>
              </a:rPr>
              <a:t>жылдың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басынан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өзгерістерді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басқару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және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үдерісті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дамыту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бөлімімен</a:t>
            </a:r>
            <a:r>
              <a:rPr lang="ru-RU" sz="1400" b="0" kern="0" spc="50" dirty="0">
                <a:latin typeface="Century Gothic" pitchFamily="34" charset="0"/>
              </a:rPr>
              <a:t> </a:t>
            </a:r>
            <a:r>
              <a:rPr lang="ru-RU" sz="1400" kern="0" spc="50" dirty="0">
                <a:latin typeface="Century Gothic" pitchFamily="34" charset="0"/>
              </a:rPr>
              <a:t>132 </a:t>
            </a:r>
            <a:r>
              <a:rPr lang="ru-RU" sz="1400" kern="0" spc="50" dirty="0" err="1">
                <a:latin typeface="Century Gothic" pitchFamily="34" charset="0"/>
              </a:rPr>
              <a:t>өтініш</a:t>
            </a:r>
            <a:r>
              <a:rPr lang="ru-RU" sz="1400" kern="0" spc="50" dirty="0">
                <a:latin typeface="Century Gothic" pitchFamily="34" charset="0"/>
              </a:rPr>
              <a:t> </a:t>
            </a:r>
            <a:r>
              <a:rPr lang="ru-RU" sz="1400" b="0" kern="0" spc="50" dirty="0" err="1">
                <a:latin typeface="Century Gothic" pitchFamily="34" charset="0"/>
              </a:rPr>
              <a:t>пысықталды</a:t>
            </a:r>
            <a:r>
              <a:rPr lang="ru-RU" sz="1400" b="0" kern="0" spc="50" dirty="0">
                <a:latin typeface="Century Gothic" pitchFamily="34" charset="0"/>
              </a:rPr>
              <a:t>.</a:t>
            </a:r>
            <a:endParaRPr lang="ru-RU" sz="1400" kern="0" spc="50" dirty="0">
              <a:latin typeface="Century Gothic" pitchFamily="34" charset="0"/>
            </a:endParaRPr>
          </a:p>
        </p:txBody>
      </p:sp>
      <p:sp>
        <p:nvSpPr>
          <p:cNvPr id="80" name="object 27">
            <a:extLst>
              <a:ext uri="{FF2B5EF4-FFF2-40B4-BE49-F238E27FC236}">
                <a16:creationId xmlns:a16="http://schemas.microsoft.com/office/drawing/2014/main" id="{9BF2C2A8-0BDF-44B9-9B0F-AC5275C84814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181821-2798-494B-A6F6-AA2938020C2E}"/>
              </a:ext>
            </a:extLst>
          </p:cNvPr>
          <p:cNvSpPr/>
          <p:nvPr/>
        </p:nvSpPr>
        <p:spPr>
          <a:xfrm>
            <a:off x="6365059" y="1648201"/>
            <a:ext cx="5439359" cy="4237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8450" marR="5080" indent="-285750" algn="just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2022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дың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6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йында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Алматы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аласы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7,2 млн.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Мемлекеттік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ызмет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көрсетілді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(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бір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ішінде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: 2021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– 13,3 млн., 2020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– 13 млн., 2019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– 10 млн., 2018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– 6.6 млн., 2017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ыл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– 5.7 млн.).</a:t>
            </a:r>
          </a:p>
          <a:p>
            <a:pPr marL="12700" marR="5080" algn="just">
              <a:spcBef>
                <a:spcPts val="100"/>
              </a:spcBef>
            </a:pPr>
            <a:endParaRPr lang="ru-RU" sz="1400" i="1" dirty="0">
              <a:solidFill>
                <a:srgbClr val="1F385D"/>
              </a:solidFill>
              <a:latin typeface="Century Gothic" panose="020B0502020202020204" pitchFamily="34" charset="0"/>
            </a:endParaRPr>
          </a:p>
          <a:p>
            <a:pPr marL="298450" marR="5080" indent="-285750" algn="just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«</a:t>
            </a:r>
            <a:r>
              <a:rPr lang="en-US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E-gov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»</a:t>
            </a:r>
            <a:r>
              <a:rPr lang="en-US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порталының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электрондық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ызметтерінің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ең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көп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саны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денсаулық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сақтау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i="1" dirty="0">
                <a:solidFill>
                  <a:srgbClr val="1F385D"/>
                </a:solidFill>
                <a:latin typeface="Century Gothic" panose="020B0502020202020204" pitchFamily="34" charset="0"/>
              </a:rPr>
              <a:t>(99,5%),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әлеуметтік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ызметтер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i="1" dirty="0">
                <a:solidFill>
                  <a:srgbClr val="1F385D"/>
                </a:solidFill>
                <a:latin typeface="Century Gothic" panose="020B0502020202020204" pitchFamily="34" charset="0"/>
              </a:rPr>
              <a:t>(80,8%),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білім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беру </a:t>
            </a:r>
            <a:r>
              <a:rPr lang="ru-RU" sz="1400" b="1" i="1" dirty="0">
                <a:solidFill>
                  <a:srgbClr val="1F385D"/>
                </a:solidFill>
                <a:latin typeface="Century Gothic" panose="020B0502020202020204" pitchFamily="34" charset="0"/>
              </a:rPr>
              <a:t>(63,5%),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сәулет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i="1" dirty="0">
                <a:solidFill>
                  <a:srgbClr val="1F385D"/>
                </a:solidFill>
                <a:latin typeface="Century Gothic" panose="020B0502020202020204" pitchFamily="34" charset="0"/>
              </a:rPr>
              <a:t>(60,2%),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заматтық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хал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ктілерін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тіркеу</a:t>
            </a:r>
            <a:r>
              <a:rPr lang="ru-RU" sz="1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i="1" dirty="0">
                <a:solidFill>
                  <a:srgbClr val="1F385D"/>
                </a:solidFill>
                <a:latin typeface="Century Gothic" panose="020B0502020202020204" pitchFamily="34" charset="0"/>
              </a:rPr>
              <a:t>(20,7%)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салаларында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көрсетіледі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.</a:t>
            </a:r>
          </a:p>
          <a:p>
            <a:pPr marL="12700" marR="5080" algn="just">
              <a:spcBef>
                <a:spcPts val="100"/>
              </a:spcBef>
            </a:pPr>
            <a:endParaRPr lang="ru-RU" sz="1400" dirty="0">
              <a:solidFill>
                <a:srgbClr val="1F385D"/>
              </a:solidFill>
              <a:latin typeface="Century Gothic" panose="020B0502020202020204" pitchFamily="34" charset="0"/>
            </a:endParaRPr>
          </a:p>
          <a:p>
            <a:pPr marL="298450" marR="5080" indent="-285750" algn="just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Алматы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аласының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электрондық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мемлекеттік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ызметтері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«</a:t>
            </a:r>
            <a:r>
              <a:rPr lang="en-US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e-gov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»</a:t>
            </a:r>
            <a:r>
              <a:rPr lang="en-US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-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тен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басқа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мемлекеттік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органдардың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сайттары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мен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қпараттық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үйелері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рқылы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көрсетіледі</a:t>
            </a:r>
            <a:r>
              <a:rPr lang="ru-RU" sz="1400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(</a:t>
            </a:r>
            <a:r>
              <a:rPr lang="en-US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www.balabaqsha.open-almaty.kz, www.bilimalmaty.kz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медициналық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қпараттық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үйесі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,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втоматт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диспетчерлік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қпараттық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үйесі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, «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емдеуге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атқызу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бюрос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» порталы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т.б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.)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рқыл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үзеге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1400" i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асырылады</a:t>
            </a:r>
            <a:r>
              <a:rPr lang="ru-RU" sz="1400" i="1" dirty="0">
                <a:solidFill>
                  <a:srgbClr val="1F385D"/>
                </a:solidFill>
                <a:latin typeface="Century Gothic" panose="020B0502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448542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72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4" name="Группа 7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94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  <p:sp>
            <p:nvSpPr>
              <p:cNvPr id="95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</p:grpSp>
        <p:grpSp>
          <p:nvGrpSpPr>
            <p:cNvPr id="5" name="Группа 85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90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  <p:sp>
            <p:nvSpPr>
              <p:cNvPr id="91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</p:grpSp>
      </p:grpSp>
      <p:cxnSp>
        <p:nvCxnSpPr>
          <p:cNvPr id="111" name="Прямая соединительная линия 110"/>
          <p:cNvCxnSpPr/>
          <p:nvPr/>
        </p:nvCxnSpPr>
        <p:spPr>
          <a:xfrm>
            <a:off x="152400" y="1524000"/>
            <a:ext cx="117994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bject 6"/>
          <p:cNvSpPr txBox="1">
            <a:spLocks/>
          </p:cNvSpPr>
          <p:nvPr/>
        </p:nvSpPr>
        <p:spPr>
          <a:xfrm>
            <a:off x="951978" y="1099639"/>
            <a:ext cx="1067447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>
              <a:spcBef>
                <a:spcPts val="100"/>
              </a:spcBef>
            </a:pPr>
            <a:r>
              <a:rPr lang="ru-RU" kern="0" spc="20" dirty="0" err="1">
                <a:latin typeface="Century Gothic" pitchFamily="34" charset="0"/>
              </a:rPr>
              <a:t>Телекоммуникациялық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инфрақұрылымды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дамыту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жоспары</a:t>
            </a:r>
            <a:endParaRPr lang="ru-RU" kern="0" spc="20" dirty="0">
              <a:solidFill>
                <a:srgbClr val="C00000"/>
              </a:solidFill>
              <a:latin typeface="Century Gothic" pitchFamily="34" charset="0"/>
            </a:endParaRPr>
          </a:p>
        </p:txBody>
      </p:sp>
      <p:grpSp>
        <p:nvGrpSpPr>
          <p:cNvPr id="6" name="Группа 5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5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  <p:sp>
          <p:nvSpPr>
            <p:cNvPr id="61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  <p:sp>
          <p:nvSpPr>
            <p:cNvPr id="62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  <p:sp>
          <p:nvSpPr>
            <p:cNvPr id="63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</p:grpSp>
      <p:grpSp>
        <p:nvGrpSpPr>
          <p:cNvPr id="7" name="Группа 68"/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8" name="Группа 73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83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  <p:sp>
            <p:nvSpPr>
              <p:cNvPr id="84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</p:grpSp>
        <p:grpSp>
          <p:nvGrpSpPr>
            <p:cNvPr id="9" name="Группа 74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77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  <p:sp>
            <p:nvSpPr>
              <p:cNvPr id="78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latin typeface="Century Gothic" pitchFamily="34" charset="0"/>
                </a:endParaRPr>
              </a:p>
            </p:txBody>
          </p:sp>
        </p:grpSp>
      </p:grpSp>
      <p:pic>
        <p:nvPicPr>
          <p:cNvPr id="33" name="Рисунок 32" descr="Город">
            <a:extLst>
              <a:ext uri="{FF2B5EF4-FFF2-40B4-BE49-F238E27FC236}">
                <a16:creationId xmlns:a16="http://schemas.microsoft.com/office/drawing/2014/main" id="{C17FB0D2-8A39-477A-8A4D-7744FDD74D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4800" y="990600"/>
            <a:ext cx="533400" cy="533400"/>
          </a:xfrm>
          <a:prstGeom prst="rect">
            <a:avLst/>
          </a:prstGeom>
        </p:spPr>
      </p:pic>
      <p:pic>
        <p:nvPicPr>
          <p:cNvPr id="2050" name="Picture 2" descr="C:\Users\Аппрат Акима 1\Desktop\отчет_УЦ_полугодовой\NLS_2.jpg"/>
          <p:cNvPicPr>
            <a:picLocks noChangeAspect="1" noChangeArrowheads="1"/>
          </p:cNvPicPr>
          <p:nvPr/>
        </p:nvPicPr>
        <p:blipFill>
          <a:blip r:embed="rId6" cstate="print"/>
          <a:srcRect l="1345" t="1351"/>
          <a:stretch>
            <a:fillRect/>
          </a:stretch>
        </p:blipFill>
        <p:spPr bwMode="auto">
          <a:xfrm>
            <a:off x="369323" y="2014954"/>
            <a:ext cx="4107270" cy="4087393"/>
          </a:xfrm>
          <a:prstGeom prst="rect">
            <a:avLst/>
          </a:prstGeom>
          <a:noFill/>
        </p:spPr>
      </p:pic>
      <p:sp>
        <p:nvSpPr>
          <p:cNvPr id="27" name="object 27">
            <a:extLst>
              <a:ext uri="{FF2B5EF4-FFF2-40B4-BE49-F238E27FC236}">
                <a16:creationId xmlns:a16="http://schemas.microsoft.com/office/drawing/2014/main" id="{0493C6E5-429D-4C22-964E-AAECC0C1E4CD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F8F11FA-4A5F-4D1B-9E8D-23E022949237}"/>
              </a:ext>
            </a:extLst>
          </p:cNvPr>
          <p:cNvSpPr/>
          <p:nvPr/>
        </p:nvSpPr>
        <p:spPr>
          <a:xfrm>
            <a:off x="300182" y="1593830"/>
            <a:ext cx="4380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spc="20" dirty="0">
                <a:latin typeface="Century Gothic" pitchFamily="34" charset="0"/>
              </a:rPr>
              <a:t> 2021 </a:t>
            </a:r>
            <a:r>
              <a:rPr lang="ru-RU" b="1" kern="0" spc="20" dirty="0" err="1">
                <a:latin typeface="Century Gothic" pitchFamily="34" charset="0"/>
              </a:rPr>
              <a:t>жылдың</a:t>
            </a:r>
            <a:r>
              <a:rPr lang="ru-RU" b="1" kern="0" spc="20" dirty="0">
                <a:latin typeface="Century Gothic" pitchFamily="34" charset="0"/>
              </a:rPr>
              <a:t> </a:t>
            </a:r>
            <a:r>
              <a:rPr lang="ru-RU" b="1" kern="0" spc="20" dirty="0" err="1">
                <a:latin typeface="Century Gothic" pitchFamily="34" charset="0"/>
              </a:rPr>
              <a:t>соңындағы</a:t>
            </a:r>
            <a:r>
              <a:rPr lang="ru-RU" b="1" kern="0" spc="20" dirty="0">
                <a:latin typeface="Century Gothic" pitchFamily="34" charset="0"/>
              </a:rPr>
              <a:t> </a:t>
            </a:r>
            <a:r>
              <a:rPr lang="ru-RU" b="1" kern="0" spc="20" dirty="0" err="1">
                <a:latin typeface="Century Gothic" pitchFamily="34" charset="0"/>
              </a:rPr>
              <a:t>мәртебе</a:t>
            </a:r>
            <a:r>
              <a:rPr lang="ru-RU" b="1" kern="0" spc="20" dirty="0">
                <a:latin typeface="Century Gothic" pitchFamily="34" charset="0"/>
              </a:rPr>
              <a:t>:</a:t>
            </a:r>
            <a:endParaRPr lang="ru-KZ" b="1" dirty="0"/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703465E9-C250-4B74-93BC-73383D4E3198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6" t="1309" r="4019"/>
          <a:stretch/>
        </p:blipFill>
        <p:spPr>
          <a:xfrm>
            <a:off x="6019801" y="2013529"/>
            <a:ext cx="5486400" cy="4088819"/>
          </a:xfrm>
          <a:prstGeom prst="rect">
            <a:avLst/>
          </a:prstGeom>
          <a:ln>
            <a:solidFill>
              <a:srgbClr val="23B349"/>
            </a:solidFill>
          </a:ln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F314522-B192-4854-9CD4-FEF73B115B1B}"/>
              </a:ext>
            </a:extLst>
          </p:cNvPr>
          <p:cNvSpPr/>
          <p:nvPr/>
        </p:nvSpPr>
        <p:spPr>
          <a:xfrm>
            <a:off x="6052145" y="1593830"/>
            <a:ext cx="502926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spc="20" dirty="0">
                <a:latin typeface="Century Gothic" pitchFamily="34" charset="0"/>
              </a:rPr>
              <a:t> 2022 </a:t>
            </a:r>
            <a:r>
              <a:rPr lang="ru-RU" b="1" kern="0" spc="20" dirty="0" err="1">
                <a:latin typeface="Century Gothic" pitchFamily="34" charset="0"/>
              </a:rPr>
              <a:t>жылғы</a:t>
            </a:r>
            <a:r>
              <a:rPr lang="ru-RU" b="1" kern="0" spc="20" dirty="0">
                <a:latin typeface="Century Gothic" pitchFamily="34" charset="0"/>
              </a:rPr>
              <a:t> </a:t>
            </a:r>
            <a:r>
              <a:rPr lang="ru-RU" b="1" kern="0" spc="20" dirty="0" err="1">
                <a:latin typeface="Century Gothic" pitchFamily="34" charset="0"/>
              </a:rPr>
              <a:t>тамызға</a:t>
            </a:r>
            <a:r>
              <a:rPr lang="ru-RU" b="1" kern="0" spc="20" dirty="0">
                <a:latin typeface="Century Gothic" pitchFamily="34" charset="0"/>
              </a:rPr>
              <a:t> </a:t>
            </a:r>
            <a:r>
              <a:rPr lang="ru-RU" b="1" kern="0" spc="20" dirty="0" err="1">
                <a:latin typeface="Century Gothic" pitchFamily="34" charset="0"/>
              </a:rPr>
              <a:t>арналған</a:t>
            </a:r>
            <a:r>
              <a:rPr lang="ru-RU" b="1" kern="0" spc="20" dirty="0">
                <a:latin typeface="Century Gothic" pitchFamily="34" charset="0"/>
              </a:rPr>
              <a:t> </a:t>
            </a:r>
            <a:r>
              <a:rPr lang="ru-RU" b="1" kern="0" spc="20" dirty="0" err="1">
                <a:latin typeface="Century Gothic" pitchFamily="34" charset="0"/>
              </a:rPr>
              <a:t>мәртебе</a:t>
            </a:r>
            <a:r>
              <a:rPr lang="ru-RU" b="1" kern="0" spc="20" dirty="0">
                <a:latin typeface="Century Gothic" pitchFamily="34" charset="0"/>
              </a:rPr>
              <a:t>:</a:t>
            </a:r>
            <a:endParaRPr lang="ru-KZ" b="1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EC76286-A4BA-4AD2-8BB2-90A193B452CD}"/>
              </a:ext>
            </a:extLst>
          </p:cNvPr>
          <p:cNvSpPr/>
          <p:nvPr/>
        </p:nvSpPr>
        <p:spPr>
          <a:xfrm>
            <a:off x="300182" y="6102347"/>
            <a:ext cx="112060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*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ондай-а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Алматы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ас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лата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(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мүмкі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ұрынд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ерект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),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аурызб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(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аусамал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)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үрксіб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(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Әлмерек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ұршашқа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)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удандар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шағы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удандар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FWA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үйесіме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мтылаты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ола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. Алматы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ас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2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үктесі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азал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танциялар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орнатыл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ағ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2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үкте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келісуд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.</a:t>
            </a:r>
            <a:endParaRPr lang="ru-KZ" sz="12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8542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Shape 2924"/>
          <p:cNvSpPr>
            <a:spLocks noGrp="1"/>
          </p:cNvSpPr>
          <p:nvPr>
            <p:ph type="title"/>
          </p:nvPr>
        </p:nvSpPr>
        <p:spPr>
          <a:xfrm>
            <a:off x="213079" y="1066799"/>
            <a:ext cx="11765844" cy="628379"/>
          </a:xfrm>
          <a:prstGeom prst="rect">
            <a:avLst/>
          </a:prstGeom>
        </p:spPr>
        <p:txBody>
          <a:bodyPr/>
          <a:lstStyle/>
          <a:p>
            <a:pPr marR="5080" indent="12700" algn="ctr">
              <a:spcBef>
                <a:spcPts val="100"/>
              </a:spcBef>
              <a:defRPr spc="-1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dirty="0">
                <a:solidFill>
                  <a:srgbClr val="2C4467"/>
                </a:solidFill>
              </a:rPr>
              <a:t>АЛМАТЫ ҚАЛАСЫНЫҢ АТ-ҚОҒАМДАСТЫҒЫНЫҢ ӨКІЛДЕРІ ҮШІН БІРЫҢҒАЙ КОММУНИКАЦИЯЛЫҚ КЕҢІСТІК</a:t>
            </a:r>
            <a:endParaRPr dirty="0">
              <a:solidFill>
                <a:srgbClr val="2C4467"/>
              </a:solidFill>
            </a:endParaRPr>
          </a:p>
        </p:txBody>
      </p:sp>
      <p:sp>
        <p:nvSpPr>
          <p:cNvPr id="2925" name="Shape 2925"/>
          <p:cNvSpPr/>
          <p:nvPr/>
        </p:nvSpPr>
        <p:spPr>
          <a:xfrm>
            <a:off x="213078" y="1736798"/>
            <a:ext cx="11765845" cy="1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 dirty="0"/>
          </a:p>
        </p:txBody>
      </p:sp>
      <p:pic>
        <p:nvPicPr>
          <p:cNvPr id="2930" name="image14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62577" y="1823892"/>
            <a:ext cx="314326" cy="313868"/>
          </a:xfrm>
          <a:prstGeom prst="rect">
            <a:avLst/>
          </a:prstGeom>
          <a:ln w="12700">
            <a:miter lim="400000"/>
          </a:ln>
        </p:spPr>
      </p:pic>
      <p:sp>
        <p:nvSpPr>
          <p:cNvPr id="2937" name="Shape 2937"/>
          <p:cNvSpPr/>
          <p:nvPr/>
        </p:nvSpPr>
        <p:spPr>
          <a:xfrm>
            <a:off x="4462576" y="2284837"/>
            <a:ext cx="3601443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 lang="en-US" b="1" dirty="0">
              <a:solidFill>
                <a:srgbClr val="2C4467"/>
              </a:solidFill>
            </a:endParaRPr>
          </a:p>
        </p:txBody>
      </p:sp>
      <p:sp>
        <p:nvSpPr>
          <p:cNvPr id="2939" name="Shape 2939"/>
          <p:cNvSpPr/>
          <p:nvPr/>
        </p:nvSpPr>
        <p:spPr>
          <a:xfrm>
            <a:off x="213078" y="990600"/>
            <a:ext cx="11765845" cy="0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3" name="object 2">
            <a:extLst>
              <a:ext uri="{FF2B5EF4-FFF2-40B4-BE49-F238E27FC236}">
                <a16:creationId xmlns:a16="http://schemas.microsoft.com/office/drawing/2014/main" id="{2BCEBE8D-BF27-47E0-AAA5-8088B7D540DB}"/>
              </a:ext>
            </a:extLst>
          </p:cNvPr>
          <p:cNvSpPr/>
          <p:nvPr/>
        </p:nvSpPr>
        <p:spPr>
          <a:xfrm>
            <a:off x="394672" y="222398"/>
            <a:ext cx="409359" cy="50048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A7E6564F-361E-4233-890C-B119C53CD236}"/>
              </a:ext>
            </a:extLst>
          </p:cNvPr>
          <p:cNvSpPr/>
          <p:nvPr/>
        </p:nvSpPr>
        <p:spPr>
          <a:xfrm>
            <a:off x="971772" y="348118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84" y="20205"/>
                </a:moveTo>
                <a:lnTo>
                  <a:pt x="664629" y="20205"/>
                </a:lnTo>
                <a:lnTo>
                  <a:pt x="664629" y="68656"/>
                </a:lnTo>
                <a:lnTo>
                  <a:pt x="664921" y="68656"/>
                </a:lnTo>
                <a:lnTo>
                  <a:pt x="670026" y="69062"/>
                </a:lnTo>
                <a:lnTo>
                  <a:pt x="676922" y="69265"/>
                </a:lnTo>
                <a:lnTo>
                  <a:pt x="692061" y="69265"/>
                </a:lnTo>
                <a:lnTo>
                  <a:pt x="696595" y="68186"/>
                </a:lnTo>
                <a:lnTo>
                  <a:pt x="701903" y="63868"/>
                </a:lnTo>
                <a:lnTo>
                  <a:pt x="702331" y="62598"/>
                </a:lnTo>
                <a:lnTo>
                  <a:pt x="684326" y="62598"/>
                </a:lnTo>
                <a:lnTo>
                  <a:pt x="672884" y="62496"/>
                </a:lnTo>
                <a:lnTo>
                  <a:pt x="672884" y="45275"/>
                </a:lnTo>
                <a:lnTo>
                  <a:pt x="702149" y="45275"/>
                </a:lnTo>
                <a:lnTo>
                  <a:pt x="701878" y="44488"/>
                </a:lnTo>
                <a:lnTo>
                  <a:pt x="696429" y="40106"/>
                </a:lnTo>
                <a:lnTo>
                  <a:pt x="691502" y="39001"/>
                </a:lnTo>
                <a:lnTo>
                  <a:pt x="672884" y="39001"/>
                </a:lnTo>
                <a:lnTo>
                  <a:pt x="672884" y="20205"/>
                </a:lnTo>
                <a:close/>
              </a:path>
              <a:path w="720725" h="70484">
                <a:moveTo>
                  <a:pt x="702149" y="45275"/>
                </a:moveTo>
                <a:lnTo>
                  <a:pt x="688314" y="45275"/>
                </a:lnTo>
                <a:lnTo>
                  <a:pt x="691032" y="45885"/>
                </a:lnTo>
                <a:lnTo>
                  <a:pt x="693940" y="48348"/>
                </a:lnTo>
                <a:lnTo>
                  <a:pt x="694677" y="50584"/>
                </a:lnTo>
                <a:lnTo>
                  <a:pt x="694677" y="57353"/>
                </a:lnTo>
                <a:lnTo>
                  <a:pt x="693928" y="59689"/>
                </a:lnTo>
                <a:lnTo>
                  <a:pt x="690943" y="62014"/>
                </a:lnTo>
                <a:lnTo>
                  <a:pt x="688238" y="62598"/>
                </a:lnTo>
                <a:lnTo>
                  <a:pt x="702331" y="62598"/>
                </a:lnTo>
                <a:lnTo>
                  <a:pt x="703237" y="59905"/>
                </a:lnTo>
                <a:lnTo>
                  <a:pt x="703210" y="48348"/>
                </a:lnTo>
                <a:lnTo>
                  <a:pt x="702149" y="45275"/>
                </a:lnTo>
                <a:close/>
              </a:path>
              <a:path w="720725" h="70484">
                <a:moveTo>
                  <a:pt x="720648" y="20205"/>
                </a:moveTo>
                <a:lnTo>
                  <a:pt x="712089" y="20205"/>
                </a:lnTo>
                <a:lnTo>
                  <a:pt x="712089" y="68656"/>
                </a:lnTo>
                <a:lnTo>
                  <a:pt x="720648" y="68656"/>
                </a:lnTo>
                <a:lnTo>
                  <a:pt x="720648" y="20205"/>
                </a:lnTo>
                <a:close/>
              </a:path>
              <a:path w="720725" h="70484">
                <a:moveTo>
                  <a:pt x="642734" y="19011"/>
                </a:moveTo>
                <a:lnTo>
                  <a:pt x="628015" y="19011"/>
                </a:lnTo>
                <a:lnTo>
                  <a:pt x="622084" y="20916"/>
                </a:lnTo>
                <a:lnTo>
                  <a:pt x="615111" y="28549"/>
                </a:lnTo>
                <a:lnTo>
                  <a:pt x="613371" y="35090"/>
                </a:lnTo>
                <a:lnTo>
                  <a:pt x="613371" y="53733"/>
                </a:lnTo>
                <a:lnTo>
                  <a:pt x="615099" y="60324"/>
                </a:lnTo>
                <a:lnTo>
                  <a:pt x="621995" y="67944"/>
                </a:lnTo>
                <a:lnTo>
                  <a:pt x="627938" y="69862"/>
                </a:lnTo>
                <a:lnTo>
                  <a:pt x="642670" y="69862"/>
                </a:lnTo>
                <a:lnTo>
                  <a:pt x="648182" y="69024"/>
                </a:lnTo>
                <a:lnTo>
                  <a:pt x="652881" y="67373"/>
                </a:lnTo>
                <a:lnTo>
                  <a:pt x="652222" y="62699"/>
                </a:lnTo>
                <a:lnTo>
                  <a:pt x="631913" y="62699"/>
                </a:lnTo>
                <a:lnTo>
                  <a:pt x="627875" y="61404"/>
                </a:lnTo>
                <a:lnTo>
                  <a:pt x="623366" y="56222"/>
                </a:lnTo>
                <a:lnTo>
                  <a:pt x="622236" y="51409"/>
                </a:lnTo>
                <a:lnTo>
                  <a:pt x="622236" y="37414"/>
                </a:lnTo>
                <a:lnTo>
                  <a:pt x="623379" y="32638"/>
                </a:lnTo>
                <a:lnTo>
                  <a:pt x="627964" y="27470"/>
                </a:lnTo>
                <a:lnTo>
                  <a:pt x="631977" y="26174"/>
                </a:lnTo>
                <a:lnTo>
                  <a:pt x="651018" y="26174"/>
                </a:lnTo>
                <a:lnTo>
                  <a:pt x="651979" y="21297"/>
                </a:lnTo>
                <a:lnTo>
                  <a:pt x="647941" y="19773"/>
                </a:lnTo>
                <a:lnTo>
                  <a:pt x="642734" y="19011"/>
                </a:lnTo>
                <a:close/>
              </a:path>
              <a:path w="720725" h="70484">
                <a:moveTo>
                  <a:pt x="652081" y="61696"/>
                </a:moveTo>
                <a:lnTo>
                  <a:pt x="647903" y="62356"/>
                </a:lnTo>
                <a:lnTo>
                  <a:pt x="643128" y="62699"/>
                </a:lnTo>
                <a:lnTo>
                  <a:pt x="652222" y="62699"/>
                </a:lnTo>
                <a:lnTo>
                  <a:pt x="652081" y="61696"/>
                </a:lnTo>
                <a:close/>
              </a:path>
              <a:path w="720725" h="70484">
                <a:moveTo>
                  <a:pt x="651018" y="26174"/>
                </a:moveTo>
                <a:lnTo>
                  <a:pt x="642137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8" y="26174"/>
                </a:lnTo>
                <a:close/>
              </a:path>
              <a:path w="720725" h="70484">
                <a:moveTo>
                  <a:pt x="599334" y="26174"/>
                </a:moveTo>
                <a:lnTo>
                  <a:pt x="585647" y="26174"/>
                </a:lnTo>
                <a:lnTo>
                  <a:pt x="588200" y="26796"/>
                </a:lnTo>
                <a:lnTo>
                  <a:pt x="589584" y="28066"/>
                </a:lnTo>
                <a:lnTo>
                  <a:pt x="590994" y="29324"/>
                </a:lnTo>
                <a:lnTo>
                  <a:pt x="591718" y="31483"/>
                </a:lnTo>
                <a:lnTo>
                  <a:pt x="591781" y="38811"/>
                </a:lnTo>
                <a:lnTo>
                  <a:pt x="567334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35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390" y="68681"/>
                </a:lnTo>
                <a:lnTo>
                  <a:pt x="587362" y="65163"/>
                </a:lnTo>
                <a:lnTo>
                  <a:pt x="590257" y="63093"/>
                </a:lnTo>
                <a:lnTo>
                  <a:pt x="590974" y="62356"/>
                </a:lnTo>
                <a:lnTo>
                  <a:pt x="576846" y="62356"/>
                </a:lnTo>
                <a:lnTo>
                  <a:pt x="574268" y="62293"/>
                </a:lnTo>
                <a:lnTo>
                  <a:pt x="571677" y="62293"/>
                </a:lnTo>
                <a:lnTo>
                  <a:pt x="569772" y="61709"/>
                </a:lnTo>
                <a:lnTo>
                  <a:pt x="567309" y="59385"/>
                </a:lnTo>
                <a:lnTo>
                  <a:pt x="566712" y="57543"/>
                </a:lnTo>
                <a:lnTo>
                  <a:pt x="566712" y="47701"/>
                </a:lnTo>
                <a:lnTo>
                  <a:pt x="568833" y="45478"/>
                </a:lnTo>
                <a:lnTo>
                  <a:pt x="573087" y="45275"/>
                </a:lnTo>
                <a:lnTo>
                  <a:pt x="600240" y="45275"/>
                </a:lnTo>
                <a:lnTo>
                  <a:pt x="600240" y="28892"/>
                </a:lnTo>
                <a:lnTo>
                  <a:pt x="599334" y="26174"/>
                </a:lnTo>
                <a:close/>
              </a:path>
              <a:path w="720725" h="70484">
                <a:moveTo>
                  <a:pt x="600240" y="60705"/>
                </a:moveTo>
                <a:lnTo>
                  <a:pt x="592582" y="60705"/>
                </a:lnTo>
                <a:lnTo>
                  <a:pt x="593572" y="68656"/>
                </a:lnTo>
                <a:lnTo>
                  <a:pt x="600240" y="68656"/>
                </a:lnTo>
                <a:lnTo>
                  <a:pt x="600240" y="60705"/>
                </a:lnTo>
                <a:close/>
              </a:path>
              <a:path w="720725" h="70484">
                <a:moveTo>
                  <a:pt x="600240" y="45275"/>
                </a:moveTo>
                <a:lnTo>
                  <a:pt x="591781" y="45275"/>
                </a:lnTo>
                <a:lnTo>
                  <a:pt x="591781" y="55029"/>
                </a:lnTo>
                <a:lnTo>
                  <a:pt x="589064" y="57416"/>
                </a:lnTo>
                <a:lnTo>
                  <a:pt x="586117" y="59245"/>
                </a:lnTo>
                <a:lnTo>
                  <a:pt x="579742" y="61760"/>
                </a:lnTo>
                <a:lnTo>
                  <a:pt x="576846" y="62356"/>
                </a:lnTo>
                <a:lnTo>
                  <a:pt x="590974" y="62356"/>
                </a:lnTo>
                <a:lnTo>
                  <a:pt x="592582" y="60705"/>
                </a:lnTo>
                <a:lnTo>
                  <a:pt x="600240" y="60705"/>
                </a:lnTo>
                <a:lnTo>
                  <a:pt x="600240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088" y="19011"/>
                </a:lnTo>
                <a:lnTo>
                  <a:pt x="569264" y="19735"/>
                </a:lnTo>
                <a:lnTo>
                  <a:pt x="560235" y="21196"/>
                </a:lnTo>
                <a:lnTo>
                  <a:pt x="561035" y="27470"/>
                </a:lnTo>
                <a:lnTo>
                  <a:pt x="570255" y="26606"/>
                </a:lnTo>
                <a:lnTo>
                  <a:pt x="577227" y="26174"/>
                </a:lnTo>
                <a:lnTo>
                  <a:pt x="599334" y="26174"/>
                </a:lnTo>
                <a:lnTo>
                  <a:pt x="598906" y="24891"/>
                </a:lnTo>
                <a:lnTo>
                  <a:pt x="593521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31" y="20205"/>
                </a:lnTo>
                <a:lnTo>
                  <a:pt x="517347" y="21132"/>
                </a:lnTo>
                <a:lnTo>
                  <a:pt x="513359" y="24841"/>
                </a:lnTo>
                <a:lnTo>
                  <a:pt x="512140" y="27698"/>
                </a:lnTo>
                <a:lnTo>
                  <a:pt x="511683" y="31546"/>
                </a:lnTo>
                <a:lnTo>
                  <a:pt x="510413" y="43751"/>
                </a:lnTo>
                <a:lnTo>
                  <a:pt x="508990" y="51879"/>
                </a:lnTo>
                <a:lnTo>
                  <a:pt x="498843" y="62699"/>
                </a:lnTo>
                <a:lnTo>
                  <a:pt x="499732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85" y="29108"/>
                </a:lnTo>
                <a:lnTo>
                  <a:pt x="522363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1" y="26174"/>
                </a:moveTo>
                <a:lnTo>
                  <a:pt x="474789" y="26174"/>
                </a:lnTo>
                <a:lnTo>
                  <a:pt x="477354" y="26796"/>
                </a:lnTo>
                <a:lnTo>
                  <a:pt x="480136" y="29324"/>
                </a:lnTo>
                <a:lnTo>
                  <a:pt x="480860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86" y="39852"/>
                </a:lnTo>
                <a:lnTo>
                  <a:pt x="448475" y="44030"/>
                </a:lnTo>
                <a:lnTo>
                  <a:pt x="447294" y="46964"/>
                </a:lnTo>
                <a:lnTo>
                  <a:pt x="447294" y="60337"/>
                </a:lnTo>
                <a:lnTo>
                  <a:pt x="448589" y="63665"/>
                </a:lnTo>
                <a:lnTo>
                  <a:pt x="453758" y="68376"/>
                </a:lnTo>
                <a:lnTo>
                  <a:pt x="457276" y="69557"/>
                </a:lnTo>
                <a:lnTo>
                  <a:pt x="465759" y="69557"/>
                </a:lnTo>
                <a:lnTo>
                  <a:pt x="469531" y="68681"/>
                </a:lnTo>
                <a:lnTo>
                  <a:pt x="476504" y="65163"/>
                </a:lnTo>
                <a:lnTo>
                  <a:pt x="479412" y="63093"/>
                </a:lnTo>
                <a:lnTo>
                  <a:pt x="480125" y="62356"/>
                </a:lnTo>
                <a:lnTo>
                  <a:pt x="466001" y="62356"/>
                </a:lnTo>
                <a:lnTo>
                  <a:pt x="463423" y="62293"/>
                </a:lnTo>
                <a:lnTo>
                  <a:pt x="460832" y="62293"/>
                </a:lnTo>
                <a:lnTo>
                  <a:pt x="458914" y="61709"/>
                </a:lnTo>
                <a:lnTo>
                  <a:pt x="456463" y="59385"/>
                </a:lnTo>
                <a:lnTo>
                  <a:pt x="455853" y="57543"/>
                </a:lnTo>
                <a:lnTo>
                  <a:pt x="455853" y="47701"/>
                </a:lnTo>
                <a:lnTo>
                  <a:pt x="457974" y="45478"/>
                </a:lnTo>
                <a:lnTo>
                  <a:pt x="462216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1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23" y="60705"/>
                </a:lnTo>
                <a:lnTo>
                  <a:pt x="482714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05" y="57416"/>
                </a:lnTo>
                <a:lnTo>
                  <a:pt x="475246" y="59245"/>
                </a:lnTo>
                <a:lnTo>
                  <a:pt x="468896" y="61760"/>
                </a:lnTo>
                <a:lnTo>
                  <a:pt x="466001" y="62356"/>
                </a:lnTo>
                <a:lnTo>
                  <a:pt x="480125" y="62356"/>
                </a:lnTo>
                <a:lnTo>
                  <a:pt x="481723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497" y="19011"/>
                </a:moveTo>
                <a:lnTo>
                  <a:pt x="466242" y="19011"/>
                </a:lnTo>
                <a:lnTo>
                  <a:pt x="458406" y="19735"/>
                </a:lnTo>
                <a:lnTo>
                  <a:pt x="449376" y="21196"/>
                </a:lnTo>
                <a:lnTo>
                  <a:pt x="450176" y="27470"/>
                </a:lnTo>
                <a:lnTo>
                  <a:pt x="459397" y="26606"/>
                </a:lnTo>
                <a:lnTo>
                  <a:pt x="466369" y="26174"/>
                </a:lnTo>
                <a:lnTo>
                  <a:pt x="488471" y="26174"/>
                </a:lnTo>
                <a:lnTo>
                  <a:pt x="488035" y="24891"/>
                </a:lnTo>
                <a:lnTo>
                  <a:pt x="482663" y="20180"/>
                </a:lnTo>
                <a:lnTo>
                  <a:pt x="478497" y="19011"/>
                </a:lnTo>
                <a:close/>
              </a:path>
              <a:path w="720725" h="70484">
                <a:moveTo>
                  <a:pt x="405003" y="20205"/>
                </a:moveTo>
                <a:lnTo>
                  <a:pt x="396544" y="20205"/>
                </a:lnTo>
                <a:lnTo>
                  <a:pt x="396544" y="68656"/>
                </a:lnTo>
                <a:lnTo>
                  <a:pt x="405003" y="68656"/>
                </a:lnTo>
                <a:lnTo>
                  <a:pt x="404878" y="49060"/>
                </a:lnTo>
                <a:lnTo>
                  <a:pt x="404609" y="46774"/>
                </a:lnTo>
                <a:lnTo>
                  <a:pt x="427291" y="46774"/>
                </a:lnTo>
                <a:lnTo>
                  <a:pt x="418731" y="43586"/>
                </a:lnTo>
                <a:lnTo>
                  <a:pt x="418731" y="43281"/>
                </a:lnTo>
                <a:lnTo>
                  <a:pt x="426626" y="40208"/>
                </a:lnTo>
                <a:lnTo>
                  <a:pt x="404507" y="40208"/>
                </a:lnTo>
                <a:lnTo>
                  <a:pt x="404783" y="38544"/>
                </a:lnTo>
                <a:lnTo>
                  <a:pt x="404903" y="37477"/>
                </a:lnTo>
                <a:lnTo>
                  <a:pt x="405003" y="20205"/>
                </a:lnTo>
                <a:close/>
              </a:path>
              <a:path w="720725" h="70484">
                <a:moveTo>
                  <a:pt x="427291" y="46774"/>
                </a:moveTo>
                <a:lnTo>
                  <a:pt x="413169" y="46774"/>
                </a:lnTo>
                <a:lnTo>
                  <a:pt x="414413" y="46951"/>
                </a:lnTo>
                <a:lnTo>
                  <a:pt x="416674" y="47675"/>
                </a:lnTo>
                <a:lnTo>
                  <a:pt x="429780" y="68656"/>
                </a:lnTo>
                <a:lnTo>
                  <a:pt x="438645" y="68656"/>
                </a:lnTo>
                <a:lnTo>
                  <a:pt x="428586" y="47993"/>
                </a:lnTo>
                <a:lnTo>
                  <a:pt x="427291" y="46774"/>
                </a:lnTo>
                <a:close/>
              </a:path>
              <a:path w="720725" h="70484">
                <a:moveTo>
                  <a:pt x="437248" y="20205"/>
                </a:moveTo>
                <a:lnTo>
                  <a:pt x="428485" y="20205"/>
                </a:lnTo>
                <a:lnTo>
                  <a:pt x="427088" y="24053"/>
                </a:lnTo>
                <a:lnTo>
                  <a:pt x="425970" y="26936"/>
                </a:lnTo>
                <a:lnTo>
                  <a:pt x="413588" y="40208"/>
                </a:lnTo>
                <a:lnTo>
                  <a:pt x="426626" y="40208"/>
                </a:lnTo>
                <a:lnTo>
                  <a:pt x="431330" y="34061"/>
                </a:lnTo>
                <a:lnTo>
                  <a:pt x="432663" y="31699"/>
                </a:lnTo>
                <a:lnTo>
                  <a:pt x="433209" y="30479"/>
                </a:lnTo>
                <a:lnTo>
                  <a:pt x="433920" y="28765"/>
                </a:lnTo>
                <a:lnTo>
                  <a:pt x="435864" y="23926"/>
                </a:lnTo>
                <a:lnTo>
                  <a:pt x="437248" y="20205"/>
                </a:lnTo>
                <a:close/>
              </a:path>
              <a:path w="720725" h="70484">
                <a:moveTo>
                  <a:pt x="310857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07" y="68656"/>
                </a:lnTo>
                <a:lnTo>
                  <a:pt x="308025" y="69062"/>
                </a:lnTo>
                <a:lnTo>
                  <a:pt x="314909" y="69265"/>
                </a:lnTo>
                <a:lnTo>
                  <a:pt x="330034" y="69265"/>
                </a:lnTo>
                <a:lnTo>
                  <a:pt x="334581" y="68186"/>
                </a:lnTo>
                <a:lnTo>
                  <a:pt x="339890" y="63868"/>
                </a:lnTo>
                <a:lnTo>
                  <a:pt x="340317" y="62598"/>
                </a:lnTo>
                <a:lnTo>
                  <a:pt x="322313" y="62598"/>
                </a:lnTo>
                <a:lnTo>
                  <a:pt x="310857" y="62496"/>
                </a:lnTo>
                <a:lnTo>
                  <a:pt x="310857" y="45275"/>
                </a:lnTo>
                <a:lnTo>
                  <a:pt x="340126" y="45275"/>
                </a:lnTo>
                <a:lnTo>
                  <a:pt x="339852" y="44488"/>
                </a:lnTo>
                <a:lnTo>
                  <a:pt x="334416" y="40106"/>
                </a:lnTo>
                <a:lnTo>
                  <a:pt x="329476" y="39001"/>
                </a:lnTo>
                <a:lnTo>
                  <a:pt x="310857" y="39001"/>
                </a:lnTo>
                <a:lnTo>
                  <a:pt x="310857" y="20205"/>
                </a:lnTo>
                <a:close/>
              </a:path>
              <a:path w="720725" h="70484">
                <a:moveTo>
                  <a:pt x="340126" y="45275"/>
                </a:moveTo>
                <a:lnTo>
                  <a:pt x="326288" y="45275"/>
                </a:lnTo>
                <a:lnTo>
                  <a:pt x="329006" y="45885"/>
                </a:lnTo>
                <a:lnTo>
                  <a:pt x="331927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01" y="59689"/>
                </a:lnTo>
                <a:lnTo>
                  <a:pt x="328930" y="62014"/>
                </a:lnTo>
                <a:lnTo>
                  <a:pt x="326224" y="62598"/>
                </a:lnTo>
                <a:lnTo>
                  <a:pt x="340317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2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50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50" y="27165"/>
                </a:lnTo>
                <a:lnTo>
                  <a:pt x="292150" y="20205"/>
                </a:lnTo>
                <a:close/>
              </a:path>
              <a:path w="720725" h="70484">
                <a:moveTo>
                  <a:pt x="237705" y="26174"/>
                </a:moveTo>
                <a:lnTo>
                  <a:pt x="224028" y="26174"/>
                </a:lnTo>
                <a:lnTo>
                  <a:pt x="226568" y="26796"/>
                </a:lnTo>
                <a:lnTo>
                  <a:pt x="229362" y="29324"/>
                </a:lnTo>
                <a:lnTo>
                  <a:pt x="230098" y="31483"/>
                </a:lnTo>
                <a:lnTo>
                  <a:pt x="230162" y="38811"/>
                </a:lnTo>
                <a:lnTo>
                  <a:pt x="205714" y="38811"/>
                </a:lnTo>
                <a:lnTo>
                  <a:pt x="202412" y="39852"/>
                </a:lnTo>
                <a:lnTo>
                  <a:pt x="197700" y="44030"/>
                </a:lnTo>
                <a:lnTo>
                  <a:pt x="196519" y="46964"/>
                </a:lnTo>
                <a:lnTo>
                  <a:pt x="196519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02" y="69557"/>
                </a:lnTo>
                <a:lnTo>
                  <a:pt x="214998" y="69557"/>
                </a:lnTo>
                <a:lnTo>
                  <a:pt x="218770" y="68681"/>
                </a:lnTo>
                <a:lnTo>
                  <a:pt x="225729" y="65163"/>
                </a:lnTo>
                <a:lnTo>
                  <a:pt x="228638" y="63093"/>
                </a:lnTo>
                <a:lnTo>
                  <a:pt x="229355" y="62356"/>
                </a:lnTo>
                <a:lnTo>
                  <a:pt x="215239" y="62356"/>
                </a:lnTo>
                <a:lnTo>
                  <a:pt x="212648" y="62293"/>
                </a:lnTo>
                <a:lnTo>
                  <a:pt x="210070" y="62293"/>
                </a:lnTo>
                <a:lnTo>
                  <a:pt x="208153" y="61709"/>
                </a:lnTo>
                <a:lnTo>
                  <a:pt x="205701" y="59385"/>
                </a:lnTo>
                <a:lnTo>
                  <a:pt x="205092" y="57543"/>
                </a:lnTo>
                <a:lnTo>
                  <a:pt x="205092" y="47701"/>
                </a:lnTo>
                <a:lnTo>
                  <a:pt x="207213" y="45478"/>
                </a:lnTo>
                <a:lnTo>
                  <a:pt x="211455" y="45275"/>
                </a:lnTo>
                <a:lnTo>
                  <a:pt x="238620" y="45275"/>
                </a:lnTo>
                <a:lnTo>
                  <a:pt x="238620" y="28892"/>
                </a:lnTo>
                <a:lnTo>
                  <a:pt x="237705" y="26174"/>
                </a:lnTo>
                <a:close/>
              </a:path>
              <a:path w="720725" h="70484">
                <a:moveTo>
                  <a:pt x="238620" y="60705"/>
                </a:moveTo>
                <a:lnTo>
                  <a:pt x="230962" y="60705"/>
                </a:lnTo>
                <a:lnTo>
                  <a:pt x="231952" y="68656"/>
                </a:lnTo>
                <a:lnTo>
                  <a:pt x="238620" y="68656"/>
                </a:lnTo>
                <a:lnTo>
                  <a:pt x="238620" y="60705"/>
                </a:lnTo>
                <a:close/>
              </a:path>
              <a:path w="720725" h="70484">
                <a:moveTo>
                  <a:pt x="238620" y="45275"/>
                </a:moveTo>
                <a:lnTo>
                  <a:pt x="230162" y="45275"/>
                </a:lnTo>
                <a:lnTo>
                  <a:pt x="230162" y="55029"/>
                </a:lnTo>
                <a:lnTo>
                  <a:pt x="227444" y="57416"/>
                </a:lnTo>
                <a:lnTo>
                  <a:pt x="224485" y="59245"/>
                </a:lnTo>
                <a:lnTo>
                  <a:pt x="218109" y="61760"/>
                </a:lnTo>
                <a:lnTo>
                  <a:pt x="215239" y="62356"/>
                </a:lnTo>
                <a:lnTo>
                  <a:pt x="229355" y="62356"/>
                </a:lnTo>
                <a:lnTo>
                  <a:pt x="230962" y="60705"/>
                </a:lnTo>
                <a:lnTo>
                  <a:pt x="238620" y="60705"/>
                </a:lnTo>
                <a:lnTo>
                  <a:pt x="238620" y="45275"/>
                </a:lnTo>
                <a:close/>
              </a:path>
              <a:path w="720725" h="70484">
                <a:moveTo>
                  <a:pt x="227736" y="19011"/>
                </a:moveTo>
                <a:lnTo>
                  <a:pt x="215468" y="19011"/>
                </a:lnTo>
                <a:lnTo>
                  <a:pt x="207632" y="19735"/>
                </a:lnTo>
                <a:lnTo>
                  <a:pt x="198615" y="21196"/>
                </a:lnTo>
                <a:lnTo>
                  <a:pt x="199415" y="27470"/>
                </a:lnTo>
                <a:lnTo>
                  <a:pt x="208635" y="26606"/>
                </a:lnTo>
                <a:lnTo>
                  <a:pt x="215595" y="26174"/>
                </a:lnTo>
                <a:lnTo>
                  <a:pt x="237705" y="26174"/>
                </a:lnTo>
                <a:lnTo>
                  <a:pt x="237274" y="24891"/>
                </a:lnTo>
                <a:lnTo>
                  <a:pt x="231902" y="20180"/>
                </a:lnTo>
                <a:lnTo>
                  <a:pt x="227736" y="19011"/>
                </a:lnTo>
                <a:close/>
              </a:path>
              <a:path w="720725" h="70484">
                <a:moveTo>
                  <a:pt x="139369" y="20205"/>
                </a:moveTo>
                <a:lnTo>
                  <a:pt x="126771" y="20205"/>
                </a:lnTo>
                <a:lnTo>
                  <a:pt x="125679" y="21259"/>
                </a:lnTo>
                <a:lnTo>
                  <a:pt x="125679" y="23380"/>
                </a:lnTo>
                <a:lnTo>
                  <a:pt x="123685" y="68656"/>
                </a:lnTo>
                <a:lnTo>
                  <a:pt x="131445" y="68656"/>
                </a:lnTo>
                <a:lnTo>
                  <a:pt x="133248" y="26669"/>
                </a:lnTo>
                <a:lnTo>
                  <a:pt x="142323" y="26669"/>
                </a:lnTo>
                <a:lnTo>
                  <a:pt x="140995" y="22986"/>
                </a:lnTo>
                <a:lnTo>
                  <a:pt x="140474" y="21132"/>
                </a:lnTo>
                <a:lnTo>
                  <a:pt x="139369" y="20205"/>
                </a:lnTo>
                <a:close/>
              </a:path>
              <a:path w="720725" h="70484">
                <a:moveTo>
                  <a:pt x="182448" y="26669"/>
                </a:moveTo>
                <a:lnTo>
                  <a:pt x="174637" y="26669"/>
                </a:lnTo>
                <a:lnTo>
                  <a:pt x="176530" y="68656"/>
                </a:lnTo>
                <a:lnTo>
                  <a:pt x="184391" y="68656"/>
                </a:lnTo>
                <a:lnTo>
                  <a:pt x="182448" y="26669"/>
                </a:lnTo>
                <a:close/>
              </a:path>
              <a:path w="720725" h="70484">
                <a:moveTo>
                  <a:pt x="142323" y="26669"/>
                </a:moveTo>
                <a:lnTo>
                  <a:pt x="134937" y="26669"/>
                </a:lnTo>
                <a:lnTo>
                  <a:pt x="147269" y="60604"/>
                </a:lnTo>
                <a:lnTo>
                  <a:pt x="147866" y="62458"/>
                </a:lnTo>
                <a:lnTo>
                  <a:pt x="148996" y="63385"/>
                </a:lnTo>
                <a:lnTo>
                  <a:pt x="158877" y="63385"/>
                </a:lnTo>
                <a:lnTo>
                  <a:pt x="160007" y="62458"/>
                </a:lnTo>
                <a:lnTo>
                  <a:pt x="160604" y="60604"/>
                </a:lnTo>
                <a:lnTo>
                  <a:pt x="161620" y="57810"/>
                </a:lnTo>
                <a:lnTo>
                  <a:pt x="153136" y="57810"/>
                </a:lnTo>
                <a:lnTo>
                  <a:pt x="152412" y="55029"/>
                </a:lnTo>
                <a:lnTo>
                  <a:pt x="151714" y="52704"/>
                </a:lnTo>
                <a:lnTo>
                  <a:pt x="142323" y="26669"/>
                </a:lnTo>
                <a:close/>
              </a:path>
              <a:path w="720725" h="70484">
                <a:moveTo>
                  <a:pt x="181229" y="20205"/>
                </a:moveTo>
                <a:lnTo>
                  <a:pt x="168605" y="20205"/>
                </a:lnTo>
                <a:lnTo>
                  <a:pt x="167474" y="21132"/>
                </a:lnTo>
                <a:lnTo>
                  <a:pt x="166865" y="22986"/>
                </a:lnTo>
                <a:lnTo>
                  <a:pt x="156819" y="50850"/>
                </a:lnTo>
                <a:lnTo>
                  <a:pt x="156362" y="52247"/>
                </a:lnTo>
                <a:lnTo>
                  <a:pt x="155651" y="54559"/>
                </a:lnTo>
                <a:lnTo>
                  <a:pt x="154736" y="57810"/>
                </a:lnTo>
                <a:lnTo>
                  <a:pt x="161620" y="57810"/>
                </a:lnTo>
                <a:lnTo>
                  <a:pt x="172948" y="26669"/>
                </a:lnTo>
                <a:lnTo>
                  <a:pt x="182448" y="26669"/>
                </a:lnTo>
                <a:lnTo>
                  <a:pt x="182295" y="23380"/>
                </a:lnTo>
                <a:lnTo>
                  <a:pt x="182295" y="21259"/>
                </a:lnTo>
                <a:lnTo>
                  <a:pt x="181229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77" y="20205"/>
                </a:lnTo>
                <a:lnTo>
                  <a:pt x="81292" y="21132"/>
                </a:lnTo>
                <a:lnTo>
                  <a:pt x="77304" y="24841"/>
                </a:lnTo>
                <a:lnTo>
                  <a:pt x="76085" y="27698"/>
                </a:lnTo>
                <a:lnTo>
                  <a:pt x="75628" y="31546"/>
                </a:lnTo>
                <a:lnTo>
                  <a:pt x="74358" y="43751"/>
                </a:lnTo>
                <a:lnTo>
                  <a:pt x="72936" y="51879"/>
                </a:lnTo>
                <a:lnTo>
                  <a:pt x="62788" y="62699"/>
                </a:lnTo>
                <a:lnTo>
                  <a:pt x="63677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09" y="27317"/>
                </a:lnTo>
                <a:lnTo>
                  <a:pt x="87795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83" y="0"/>
                </a:lnTo>
                <a:lnTo>
                  <a:pt x="22479" y="800"/>
                </a:lnTo>
                <a:lnTo>
                  <a:pt x="22085" y="2387"/>
                </a:lnTo>
                <a:lnTo>
                  <a:pt x="0" y="68656"/>
                </a:lnTo>
                <a:lnTo>
                  <a:pt x="9042" y="68656"/>
                </a:lnTo>
                <a:lnTo>
                  <a:pt x="15824" y="47167"/>
                </a:lnTo>
                <a:lnTo>
                  <a:pt x="52731" y="47167"/>
                </a:lnTo>
                <a:lnTo>
                  <a:pt x="50213" y="39611"/>
                </a:lnTo>
                <a:lnTo>
                  <a:pt x="18199" y="39611"/>
                </a:lnTo>
                <a:lnTo>
                  <a:pt x="26860" y="12344"/>
                </a:lnTo>
                <a:lnTo>
                  <a:pt x="28562" y="6769"/>
                </a:lnTo>
                <a:lnTo>
                  <a:pt x="39268" y="6769"/>
                </a:lnTo>
                <a:lnTo>
                  <a:pt x="37807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31" y="47167"/>
                </a:moveTo>
                <a:lnTo>
                  <a:pt x="44069" y="47167"/>
                </a:lnTo>
                <a:lnTo>
                  <a:pt x="50850" y="68656"/>
                </a:lnTo>
                <a:lnTo>
                  <a:pt x="59893" y="68656"/>
                </a:lnTo>
                <a:lnTo>
                  <a:pt x="52731" y="47167"/>
                </a:lnTo>
                <a:close/>
              </a:path>
              <a:path w="720725" h="70484">
                <a:moveTo>
                  <a:pt x="39268" y="6769"/>
                </a:moveTo>
                <a:lnTo>
                  <a:pt x="31330" y="6769"/>
                </a:lnTo>
                <a:lnTo>
                  <a:pt x="31864" y="8762"/>
                </a:lnTo>
                <a:lnTo>
                  <a:pt x="32435" y="10617"/>
                </a:lnTo>
                <a:lnTo>
                  <a:pt x="33032" y="12344"/>
                </a:lnTo>
                <a:lnTo>
                  <a:pt x="41694" y="39611"/>
                </a:lnTo>
                <a:lnTo>
                  <a:pt x="50213" y="39611"/>
                </a:lnTo>
                <a:lnTo>
                  <a:pt x="39268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3F7B30B5-B823-4492-9648-A1437B8904E3}"/>
              </a:ext>
            </a:extLst>
          </p:cNvPr>
          <p:cNvSpPr/>
          <p:nvPr/>
        </p:nvSpPr>
        <p:spPr>
          <a:xfrm>
            <a:off x="978858" y="624441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14" y="20802"/>
                </a:lnTo>
                <a:lnTo>
                  <a:pt x="507314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6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8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74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8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62" y="51193"/>
                </a:lnTo>
                <a:lnTo>
                  <a:pt x="537362" y="57950"/>
                </a:lnTo>
                <a:lnTo>
                  <a:pt x="536600" y="60286"/>
                </a:lnTo>
                <a:lnTo>
                  <a:pt x="533628" y="62611"/>
                </a:lnTo>
                <a:lnTo>
                  <a:pt x="530923" y="63195"/>
                </a:lnTo>
                <a:lnTo>
                  <a:pt x="545016" y="63195"/>
                </a:lnTo>
                <a:lnTo>
                  <a:pt x="545922" y="60502"/>
                </a:lnTo>
                <a:lnTo>
                  <a:pt x="545891" y="48945"/>
                </a:lnTo>
                <a:lnTo>
                  <a:pt x="544828" y="45885"/>
                </a:lnTo>
                <a:close/>
              </a:path>
              <a:path w="563880" h="89534">
                <a:moveTo>
                  <a:pt x="563333" y="20802"/>
                </a:moveTo>
                <a:lnTo>
                  <a:pt x="554774" y="20802"/>
                </a:lnTo>
                <a:lnTo>
                  <a:pt x="554774" y="69265"/>
                </a:lnTo>
                <a:lnTo>
                  <a:pt x="563333" y="69265"/>
                </a:lnTo>
                <a:lnTo>
                  <a:pt x="563333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87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1238" y="6473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55" y="69634"/>
                </a:lnTo>
                <a:lnTo>
                  <a:pt x="495566" y="67970"/>
                </a:lnTo>
                <a:lnTo>
                  <a:pt x="494906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64" y="33235"/>
                </a:lnTo>
                <a:lnTo>
                  <a:pt x="470636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6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2003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301" y="68973"/>
                </a:lnTo>
                <a:lnTo>
                  <a:pt x="410806" y="70154"/>
                </a:lnTo>
                <a:lnTo>
                  <a:pt x="419303" y="70154"/>
                </a:lnTo>
                <a:lnTo>
                  <a:pt x="423100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57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59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2003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57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90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41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20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2003" y="26771"/>
                </a:lnTo>
                <a:lnTo>
                  <a:pt x="441578" y="25501"/>
                </a:lnTo>
                <a:lnTo>
                  <a:pt x="436206" y="20777"/>
                </a:lnTo>
                <a:lnTo>
                  <a:pt x="432041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76" y="20802"/>
                </a:lnTo>
                <a:lnTo>
                  <a:pt x="329984" y="21856"/>
                </a:lnTo>
                <a:lnTo>
                  <a:pt x="329984" y="23977"/>
                </a:lnTo>
                <a:lnTo>
                  <a:pt x="327977" y="69265"/>
                </a:lnTo>
                <a:lnTo>
                  <a:pt x="335749" y="69265"/>
                </a:lnTo>
                <a:lnTo>
                  <a:pt x="337527" y="27266"/>
                </a:lnTo>
                <a:lnTo>
                  <a:pt x="346629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51" y="27266"/>
                </a:moveTo>
                <a:lnTo>
                  <a:pt x="378929" y="27266"/>
                </a:lnTo>
                <a:lnTo>
                  <a:pt x="380834" y="69265"/>
                </a:lnTo>
                <a:lnTo>
                  <a:pt x="388683" y="69265"/>
                </a:lnTo>
                <a:lnTo>
                  <a:pt x="386751" y="27266"/>
                </a:lnTo>
                <a:close/>
              </a:path>
              <a:path w="563880" h="89534">
                <a:moveTo>
                  <a:pt x="346629" y="27266"/>
                </a:moveTo>
                <a:lnTo>
                  <a:pt x="339229" y="27266"/>
                </a:lnTo>
                <a:lnTo>
                  <a:pt x="351574" y="61201"/>
                </a:lnTo>
                <a:lnTo>
                  <a:pt x="352170" y="63068"/>
                </a:lnTo>
                <a:lnTo>
                  <a:pt x="353301" y="63982"/>
                </a:lnTo>
                <a:lnTo>
                  <a:pt x="363181" y="63982"/>
                </a:lnTo>
                <a:lnTo>
                  <a:pt x="364312" y="63068"/>
                </a:lnTo>
                <a:lnTo>
                  <a:pt x="364909" y="61201"/>
                </a:lnTo>
                <a:lnTo>
                  <a:pt x="365919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55358" y="51447"/>
                </a:lnTo>
                <a:lnTo>
                  <a:pt x="346629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24" y="51447"/>
                </a:lnTo>
                <a:lnTo>
                  <a:pt x="360667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19" y="58420"/>
                </a:lnTo>
                <a:lnTo>
                  <a:pt x="377240" y="27266"/>
                </a:lnTo>
                <a:lnTo>
                  <a:pt x="386751" y="27266"/>
                </a:lnTo>
                <a:lnTo>
                  <a:pt x="386600" y="23977"/>
                </a:lnTo>
                <a:lnTo>
                  <a:pt x="386600" y="21856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34" y="65481"/>
                </a:lnTo>
                <a:lnTo>
                  <a:pt x="310500" y="65481"/>
                </a:lnTo>
                <a:lnTo>
                  <a:pt x="312323" y="63093"/>
                </a:lnTo>
                <a:lnTo>
                  <a:pt x="291376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67" y="29464"/>
                </a:lnTo>
                <a:lnTo>
                  <a:pt x="288068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500" y="65481"/>
                </a:moveTo>
                <a:lnTo>
                  <a:pt x="279234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52" y="68554"/>
                </a:lnTo>
                <a:lnTo>
                  <a:pt x="310500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97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23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71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8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71" y="19608"/>
                </a:lnTo>
                <a:close/>
              </a:path>
              <a:path w="563880" h="89534">
                <a:moveTo>
                  <a:pt x="254627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91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43" y="39408"/>
                </a:lnTo>
                <a:lnTo>
                  <a:pt x="219341" y="40449"/>
                </a:lnTo>
                <a:lnTo>
                  <a:pt x="214629" y="44627"/>
                </a:lnTo>
                <a:lnTo>
                  <a:pt x="213448" y="47574"/>
                </a:lnTo>
                <a:lnTo>
                  <a:pt x="213448" y="60934"/>
                </a:lnTo>
                <a:lnTo>
                  <a:pt x="214731" y="64274"/>
                </a:lnTo>
                <a:lnTo>
                  <a:pt x="219925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58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84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27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65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44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24" y="26771"/>
                </a:lnTo>
                <a:lnTo>
                  <a:pt x="254627" y="26771"/>
                </a:lnTo>
                <a:lnTo>
                  <a:pt x="254203" y="25501"/>
                </a:lnTo>
                <a:lnTo>
                  <a:pt x="248818" y="20777"/>
                </a:lnTo>
                <a:lnTo>
                  <a:pt x="244665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64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6" y="40805"/>
                </a:lnTo>
                <a:lnTo>
                  <a:pt x="170662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41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403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55" y="40805"/>
                </a:lnTo>
                <a:lnTo>
                  <a:pt x="192786" y="40805"/>
                </a:lnTo>
                <a:lnTo>
                  <a:pt x="193852" y="39789"/>
                </a:lnTo>
                <a:lnTo>
                  <a:pt x="195579" y="38087"/>
                </a:lnTo>
                <a:lnTo>
                  <a:pt x="196176" y="37185"/>
                </a:lnTo>
                <a:lnTo>
                  <a:pt x="196824" y="35928"/>
                </a:lnTo>
                <a:lnTo>
                  <a:pt x="198018" y="33693"/>
                </a:lnTo>
                <a:lnTo>
                  <a:pt x="198831" y="32296"/>
                </a:lnTo>
                <a:lnTo>
                  <a:pt x="199377" y="31076"/>
                </a:lnTo>
                <a:lnTo>
                  <a:pt x="201650" y="25425"/>
                </a:lnTo>
                <a:lnTo>
                  <a:pt x="202031" y="24536"/>
                </a:lnTo>
                <a:lnTo>
                  <a:pt x="203403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53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90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90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71" y="27368"/>
                </a:lnTo>
                <a:lnTo>
                  <a:pt x="149090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65" y="29921"/>
                </a:lnTo>
                <a:lnTo>
                  <a:pt x="89801" y="32080"/>
                </a:lnTo>
                <a:lnTo>
                  <a:pt x="89852" y="39408"/>
                </a:lnTo>
                <a:lnTo>
                  <a:pt x="65417" y="39408"/>
                </a:lnTo>
                <a:lnTo>
                  <a:pt x="62115" y="40449"/>
                </a:lnTo>
                <a:lnTo>
                  <a:pt x="57403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32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51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47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18" y="28067"/>
                </a:lnTo>
                <a:lnTo>
                  <a:pt x="68325" y="27203"/>
                </a:lnTo>
                <a:lnTo>
                  <a:pt x="75298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203" y="69265"/>
                </a:lnTo>
                <a:lnTo>
                  <a:pt x="6756" y="69862"/>
                </a:lnTo>
                <a:lnTo>
                  <a:pt x="13970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77" y="62560"/>
                </a:lnTo>
                <a:lnTo>
                  <a:pt x="8762" y="62496"/>
                </a:lnTo>
                <a:lnTo>
                  <a:pt x="8762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62" y="30149"/>
                </a:lnTo>
                <a:lnTo>
                  <a:pt x="8762" y="7861"/>
                </a:lnTo>
                <a:lnTo>
                  <a:pt x="41389" y="7861"/>
                </a:lnTo>
                <a:lnTo>
                  <a:pt x="42202" y="596"/>
                </a:lnTo>
                <a:lnTo>
                  <a:pt x="35229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61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61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9DA33786-2131-48ED-8738-5950FB556FA4}"/>
              </a:ext>
            </a:extLst>
          </p:cNvPr>
          <p:cNvSpPr/>
          <p:nvPr/>
        </p:nvSpPr>
        <p:spPr>
          <a:xfrm>
            <a:off x="977531" y="459328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52" y="103365"/>
                </a:lnTo>
                <a:lnTo>
                  <a:pt x="984504" y="105181"/>
                </a:lnTo>
                <a:lnTo>
                  <a:pt x="992517" y="105181"/>
                </a:lnTo>
                <a:lnTo>
                  <a:pt x="990206" y="110883"/>
                </a:lnTo>
                <a:lnTo>
                  <a:pt x="987107" y="114896"/>
                </a:lnTo>
                <a:lnTo>
                  <a:pt x="983195" y="117195"/>
                </a:lnTo>
                <a:lnTo>
                  <a:pt x="979398" y="119494"/>
                </a:lnTo>
                <a:lnTo>
                  <a:pt x="972934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40" y="127550"/>
                </a:lnTo>
                <a:lnTo>
                  <a:pt x="1004644" y="121813"/>
                </a:lnTo>
                <a:lnTo>
                  <a:pt x="1005484" y="120497"/>
                </a:lnTo>
                <a:lnTo>
                  <a:pt x="972934" y="120497"/>
                </a:lnTo>
                <a:lnTo>
                  <a:pt x="963815" y="120205"/>
                </a:lnTo>
                <a:lnTo>
                  <a:pt x="1005670" y="120205"/>
                </a:lnTo>
                <a:lnTo>
                  <a:pt x="1009179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21" y="90144"/>
                </a:lnTo>
                <a:lnTo>
                  <a:pt x="996327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34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60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712" y="133718"/>
                </a:lnTo>
                <a:lnTo>
                  <a:pt x="897712" y="115836"/>
                </a:lnTo>
                <a:lnTo>
                  <a:pt x="897691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712" y="87591"/>
                </a:lnTo>
                <a:lnTo>
                  <a:pt x="897712" y="53644"/>
                </a:lnTo>
                <a:lnTo>
                  <a:pt x="904913" y="48933"/>
                </a:lnTo>
                <a:lnTo>
                  <a:pt x="911034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60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4" y="103068"/>
                </a:lnTo>
                <a:lnTo>
                  <a:pt x="908335" y="105322"/>
                </a:lnTo>
                <a:lnTo>
                  <a:pt x="914864" y="106674"/>
                </a:lnTo>
                <a:lnTo>
                  <a:pt x="922045" y="107124"/>
                </a:lnTo>
                <a:lnTo>
                  <a:pt x="931773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612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93" y="105181"/>
                </a:lnTo>
                <a:lnTo>
                  <a:pt x="766213" y="105572"/>
                </a:lnTo>
                <a:lnTo>
                  <a:pt x="774511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64" y="106070"/>
                </a:lnTo>
                <a:lnTo>
                  <a:pt x="813473" y="104305"/>
                </a:lnTo>
                <a:lnTo>
                  <a:pt x="822693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8" y="70777"/>
                </a:lnTo>
                <a:lnTo>
                  <a:pt x="822591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8" y="70777"/>
                </a:moveTo>
                <a:lnTo>
                  <a:pt x="795642" y="70777"/>
                </a:lnTo>
                <a:lnTo>
                  <a:pt x="798728" y="71424"/>
                </a:lnTo>
                <a:lnTo>
                  <a:pt x="801827" y="74028"/>
                </a:lnTo>
                <a:lnTo>
                  <a:pt x="802614" y="76631"/>
                </a:lnTo>
                <a:lnTo>
                  <a:pt x="802614" y="84645"/>
                </a:lnTo>
                <a:lnTo>
                  <a:pt x="801827" y="87325"/>
                </a:lnTo>
                <a:lnTo>
                  <a:pt x="798728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8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50" y="126352"/>
                </a:lnTo>
                <a:lnTo>
                  <a:pt x="673849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80" y="70734"/>
                </a:lnTo>
                <a:lnTo>
                  <a:pt x="670138" y="80381"/>
                </a:lnTo>
                <a:lnTo>
                  <a:pt x="667092" y="89255"/>
                </a:lnTo>
                <a:lnTo>
                  <a:pt x="686625" y="89255"/>
                </a:lnTo>
                <a:lnTo>
                  <a:pt x="696290" y="48488"/>
                </a:lnTo>
                <a:lnTo>
                  <a:pt x="698792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41" y="31102"/>
                </a:lnTo>
                <a:lnTo>
                  <a:pt x="573341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34" y="106984"/>
                </a:lnTo>
                <a:lnTo>
                  <a:pt x="515690" y="106166"/>
                </a:lnTo>
                <a:lnTo>
                  <a:pt x="522892" y="103711"/>
                </a:lnTo>
                <a:lnTo>
                  <a:pt x="529439" y="99623"/>
                </a:lnTo>
                <a:lnTo>
                  <a:pt x="535330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30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15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68" y="28994"/>
                </a:lnTo>
                <a:lnTo>
                  <a:pt x="516527" y="29220"/>
                </a:lnTo>
                <a:lnTo>
                  <a:pt x="506999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56" y="47637"/>
                </a:lnTo>
                <a:lnTo>
                  <a:pt x="498570" y="47104"/>
                </a:lnTo>
                <a:lnTo>
                  <a:pt x="506815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80" y="39141"/>
                </a:lnTo>
                <a:lnTo>
                  <a:pt x="543267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6" y="82222"/>
                </a:lnTo>
                <a:lnTo>
                  <a:pt x="428955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63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52" y="133718"/>
                </a:lnTo>
                <a:lnTo>
                  <a:pt x="331152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30" y="99910"/>
                </a:lnTo>
                <a:lnTo>
                  <a:pt x="376961" y="98640"/>
                </a:lnTo>
                <a:lnTo>
                  <a:pt x="379987" y="93590"/>
                </a:lnTo>
                <a:lnTo>
                  <a:pt x="380959" y="90601"/>
                </a:lnTo>
                <a:lnTo>
                  <a:pt x="344563" y="90601"/>
                </a:lnTo>
                <a:lnTo>
                  <a:pt x="338963" y="89598"/>
                </a:lnTo>
                <a:lnTo>
                  <a:pt x="331152" y="87591"/>
                </a:lnTo>
                <a:lnTo>
                  <a:pt x="331152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75" y="46583"/>
                </a:lnTo>
                <a:lnTo>
                  <a:pt x="378562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30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64" y="104305"/>
                </a:lnTo>
                <a:lnTo>
                  <a:pt x="375930" y="99910"/>
                </a:lnTo>
                <a:close/>
              </a:path>
              <a:path w="1039494" h="136525">
                <a:moveTo>
                  <a:pt x="380375" y="46583"/>
                </a:moveTo>
                <a:lnTo>
                  <a:pt x="353783" y="46583"/>
                </a:lnTo>
                <a:lnTo>
                  <a:pt x="356781" y="48107"/>
                </a:lnTo>
                <a:lnTo>
                  <a:pt x="360197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21" y="83591"/>
                </a:lnTo>
                <a:lnTo>
                  <a:pt x="356412" y="89204"/>
                </a:lnTo>
                <a:lnTo>
                  <a:pt x="352971" y="90601"/>
                </a:lnTo>
                <a:lnTo>
                  <a:pt x="380959" y="90601"/>
                </a:lnTo>
                <a:lnTo>
                  <a:pt x="382150" y="86936"/>
                </a:lnTo>
                <a:lnTo>
                  <a:pt x="383449" y="78679"/>
                </a:lnTo>
                <a:lnTo>
                  <a:pt x="383882" y="68821"/>
                </a:lnTo>
                <a:lnTo>
                  <a:pt x="382275" y="51469"/>
                </a:lnTo>
                <a:lnTo>
                  <a:pt x="380375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52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62" y="41922"/>
                </a:lnTo>
                <a:lnTo>
                  <a:pt x="377455" y="39074"/>
                </a:lnTo>
                <a:lnTo>
                  <a:pt x="369422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26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26" y="133718"/>
                </a:lnTo>
                <a:lnTo>
                  <a:pt x="253326" y="106680"/>
                </a:lnTo>
                <a:lnTo>
                  <a:pt x="263363" y="105467"/>
                </a:lnTo>
                <a:lnTo>
                  <a:pt x="288522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14" y="45377"/>
                </a:lnTo>
                <a:lnTo>
                  <a:pt x="288236" y="44980"/>
                </a:lnTo>
                <a:lnTo>
                  <a:pt x="253326" y="29298"/>
                </a:lnTo>
                <a:lnTo>
                  <a:pt x="253326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14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27" y="54686"/>
                </a:lnTo>
                <a:lnTo>
                  <a:pt x="272249" y="60299"/>
                </a:lnTo>
                <a:lnTo>
                  <a:pt x="272249" y="76034"/>
                </a:lnTo>
                <a:lnTo>
                  <a:pt x="270827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22" y="90601"/>
                </a:lnTo>
                <a:lnTo>
                  <a:pt x="291125" y="84855"/>
                </a:lnTo>
                <a:lnTo>
                  <a:pt x="292856" y="77182"/>
                </a:lnTo>
                <a:lnTo>
                  <a:pt x="293433" y="68211"/>
                </a:lnTo>
                <a:lnTo>
                  <a:pt x="292856" y="59172"/>
                </a:lnTo>
                <a:lnTo>
                  <a:pt x="291125" y="51428"/>
                </a:lnTo>
                <a:lnTo>
                  <a:pt x="288414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38" y="31102"/>
                </a:lnTo>
                <a:lnTo>
                  <a:pt x="105638" y="105181"/>
                </a:lnTo>
                <a:lnTo>
                  <a:pt x="124561" y="105181"/>
                </a:lnTo>
                <a:lnTo>
                  <a:pt x="141243" y="81584"/>
                </a:lnTo>
                <a:lnTo>
                  <a:pt x="124561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43" y="81584"/>
                </a:lnTo>
                <a:lnTo>
                  <a:pt x="155105" y="61950"/>
                </a:lnTo>
                <a:lnTo>
                  <a:pt x="156972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403" y="1498"/>
                </a:lnTo>
                <a:lnTo>
                  <a:pt x="57403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2">
            <a:extLst>
              <a:ext uri="{FF2B5EF4-FFF2-40B4-BE49-F238E27FC236}">
                <a16:creationId xmlns:a16="http://schemas.microsoft.com/office/drawing/2014/main" id="{646225B8-7290-42F6-AF8F-D567915193C6}"/>
              </a:ext>
            </a:extLst>
          </p:cNvPr>
          <p:cNvSpPr txBox="1"/>
          <p:nvPr/>
        </p:nvSpPr>
        <p:spPr>
          <a:xfrm>
            <a:off x="11653189" y="35100"/>
            <a:ext cx="170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>
                <a:solidFill>
                  <a:srgbClr val="FFFFFF"/>
                </a:solidFill>
                <a:latin typeface="KZ_Exo 2 Medium Condensed"/>
                <a:cs typeface="KZ_Exo 2 Medium Condensed"/>
              </a:rPr>
              <a:t>1</a:t>
            </a:r>
            <a:endParaRPr sz="1200" dirty="0">
              <a:latin typeface="KZ_Exo 2 Medium Condensed"/>
              <a:cs typeface="KZ_Exo 2 Medium Condensed"/>
            </a:endParaRPr>
          </a:p>
        </p:txBody>
      </p:sp>
      <p:pic>
        <p:nvPicPr>
          <p:cNvPr id="35" name="image15.pdf">
            <a:extLst>
              <a:ext uri="{FF2B5EF4-FFF2-40B4-BE49-F238E27FC236}">
                <a16:creationId xmlns:a16="http://schemas.microsoft.com/office/drawing/2014/main" id="{F2287298-BCB2-4C0B-B49B-5267D0E307E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421" y="1823892"/>
            <a:ext cx="314326" cy="313868"/>
          </a:xfrm>
          <a:prstGeom prst="rect">
            <a:avLst/>
          </a:prstGeom>
          <a:ln w="12700">
            <a:miter lim="400000"/>
          </a:ln>
        </p:spPr>
      </p:pic>
      <p:sp>
        <p:nvSpPr>
          <p:cNvPr id="36" name="Shape 2926">
            <a:extLst>
              <a:ext uri="{FF2B5EF4-FFF2-40B4-BE49-F238E27FC236}">
                <a16:creationId xmlns:a16="http://schemas.microsoft.com/office/drawing/2014/main" id="{8F656B5C-D994-49DC-9773-6B099DB230D3}"/>
              </a:ext>
            </a:extLst>
          </p:cNvPr>
          <p:cNvSpPr/>
          <p:nvPr/>
        </p:nvSpPr>
        <p:spPr>
          <a:xfrm>
            <a:off x="757013" y="1883876"/>
            <a:ext cx="3447976" cy="1905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marR="5080" indent="12700">
              <a:spcBef>
                <a:spcPts val="1000"/>
              </a:spcBef>
              <a:defRPr sz="1200" b="1">
                <a:solidFill>
                  <a:srgbClr val="1F385D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ru-RU" dirty="0"/>
              <a:t>ПИЛОТТЫҚ ЖОБАЛАР</a:t>
            </a:r>
            <a:endParaRPr dirty="0"/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D6EB4F0C-BB9B-40D3-99D3-6DDE4E85AE8D}"/>
              </a:ext>
            </a:extLst>
          </p:cNvPr>
          <p:cNvSpPr txBox="1"/>
          <p:nvPr/>
        </p:nvSpPr>
        <p:spPr>
          <a:xfrm>
            <a:off x="11672145" y="33914"/>
            <a:ext cx="170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>
                <a:solidFill>
                  <a:srgbClr val="FFFFFF"/>
                </a:solidFill>
                <a:latin typeface="KZ_Exo 2 Medium Condensed"/>
                <a:cs typeface="KZ_Exo 2 Medium Condensed"/>
              </a:rPr>
              <a:t>6</a:t>
            </a:r>
            <a:endParaRPr sz="1200" dirty="0">
              <a:latin typeface="KZ_Exo 2 Medium Condensed"/>
              <a:cs typeface="KZ_Exo 2 Medium Condensed"/>
            </a:endParaRPr>
          </a:p>
        </p:txBody>
      </p:sp>
      <p:sp>
        <p:nvSpPr>
          <p:cNvPr id="31" name="Shape 2937">
            <a:extLst>
              <a:ext uri="{FF2B5EF4-FFF2-40B4-BE49-F238E27FC236}">
                <a16:creationId xmlns:a16="http://schemas.microsoft.com/office/drawing/2014/main" id="{E095F1E4-5A7A-4CFE-9B7D-49D854C857C9}"/>
              </a:ext>
            </a:extLst>
          </p:cNvPr>
          <p:cNvSpPr/>
          <p:nvPr/>
        </p:nvSpPr>
        <p:spPr>
          <a:xfrm>
            <a:off x="394671" y="2284837"/>
            <a:ext cx="3754443" cy="7386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dirty="0" err="1">
                <a:solidFill>
                  <a:srgbClr val="2C4467"/>
                </a:solidFill>
              </a:rPr>
              <a:t>Сондай-ақ</a:t>
            </a:r>
            <a:r>
              <a:rPr lang="ru-RU" dirty="0">
                <a:solidFill>
                  <a:srgbClr val="2C4467"/>
                </a:solidFill>
              </a:rPr>
              <a:t>, </a:t>
            </a:r>
            <a:r>
              <a:rPr lang="ru-RU" b="1" dirty="0">
                <a:solidFill>
                  <a:srgbClr val="2C4467"/>
                </a:solidFill>
              </a:rPr>
              <a:t>2022 </a:t>
            </a:r>
            <a:r>
              <a:rPr lang="ru-RU" b="1" dirty="0" err="1">
                <a:solidFill>
                  <a:srgbClr val="2C4467"/>
                </a:solidFill>
              </a:rPr>
              <a:t>жылғы</a:t>
            </a:r>
            <a:r>
              <a:rPr lang="ru-RU" b="1" dirty="0">
                <a:solidFill>
                  <a:srgbClr val="2C4467"/>
                </a:solidFill>
              </a:rPr>
              <a:t> 1 </a:t>
            </a:r>
            <a:r>
              <a:rPr lang="ru-RU" b="1" dirty="0" err="1">
                <a:solidFill>
                  <a:srgbClr val="2C4467"/>
                </a:solidFill>
              </a:rPr>
              <a:t>сәуірде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en-US" b="1" dirty="0">
                <a:solidFill>
                  <a:srgbClr val="2C4467"/>
                </a:solidFill>
              </a:rPr>
              <a:t>Data Science </a:t>
            </a:r>
            <a:r>
              <a:rPr lang="ru-RU" dirty="0" err="1">
                <a:solidFill>
                  <a:srgbClr val="2C4467"/>
                </a:solidFill>
              </a:rPr>
              <a:t>мамандығы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бойынша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бірінші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кредиттік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бюромен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тегін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оқыту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негізінде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пилоттық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жоба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іске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қосылды</a:t>
            </a:r>
            <a:r>
              <a:rPr lang="ru-RU" dirty="0">
                <a:solidFill>
                  <a:srgbClr val="2C4467"/>
                </a:solidFill>
              </a:rPr>
              <a:t>.</a:t>
            </a:r>
            <a:endParaRPr lang="en-US" b="1" dirty="0">
              <a:solidFill>
                <a:srgbClr val="2C4467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E00249-34F2-40BE-94F2-C2569D3591A4}"/>
              </a:ext>
            </a:extLst>
          </p:cNvPr>
          <p:cNvSpPr/>
          <p:nvPr/>
        </p:nvSpPr>
        <p:spPr>
          <a:xfrm>
            <a:off x="341791" y="3088228"/>
            <a:ext cx="3601443" cy="28777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>
              <a:spcBef>
                <a:spcPts val="1000"/>
              </a:spcBef>
              <a:buClr>
                <a:srgbClr val="1F385D"/>
              </a:buClr>
              <a:buSzPct val="100000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b="1" dirty="0">
                <a:solidFill>
                  <a:srgbClr val="2C4467"/>
                </a:solidFill>
              </a:rPr>
              <a:t>ЖОО-мен </a:t>
            </a:r>
            <a:r>
              <a:rPr lang="ru-RU" b="1" dirty="0" err="1">
                <a:solidFill>
                  <a:srgbClr val="2C4467"/>
                </a:solidFill>
              </a:rPr>
              <a:t>өзара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іс-қимыл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кезінде</a:t>
            </a:r>
            <a:r>
              <a:rPr lang="ru-RU" b="1" dirty="0">
                <a:solidFill>
                  <a:srgbClr val="2C4467"/>
                </a:solidFill>
              </a:rPr>
              <a:t> 2021 </a:t>
            </a:r>
            <a:r>
              <a:rPr lang="ru-RU" b="1" dirty="0" err="1">
                <a:solidFill>
                  <a:srgbClr val="2C4467"/>
                </a:solidFill>
              </a:rPr>
              <a:t>жылы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en-US" b="1" dirty="0">
                <a:solidFill>
                  <a:srgbClr val="2C4467"/>
                </a:solidFill>
              </a:rPr>
              <a:t>SDU, KBTU, </a:t>
            </a:r>
            <a:r>
              <a:rPr lang="ru-RU" b="1" dirty="0">
                <a:solidFill>
                  <a:srgbClr val="2C4467"/>
                </a:solidFill>
              </a:rPr>
              <a:t>КИМЭП, </a:t>
            </a:r>
            <a:r>
              <a:rPr lang="en-US" b="1" dirty="0">
                <a:solidFill>
                  <a:srgbClr val="2C4467"/>
                </a:solidFill>
              </a:rPr>
              <a:t>Almay, </a:t>
            </a:r>
            <a:r>
              <a:rPr lang="ru-RU" b="1" dirty="0">
                <a:solidFill>
                  <a:srgbClr val="2C4467"/>
                </a:solidFill>
              </a:rPr>
              <a:t>АТУ, </a:t>
            </a:r>
            <a:r>
              <a:rPr lang="ru-RU" b="1" dirty="0" err="1">
                <a:solidFill>
                  <a:srgbClr val="2C4467"/>
                </a:solidFill>
              </a:rPr>
              <a:t>Нархоз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және</a:t>
            </a:r>
            <a:r>
              <a:rPr lang="ru-RU" b="1" dirty="0">
                <a:solidFill>
                  <a:srgbClr val="2C4467"/>
                </a:solidFill>
              </a:rPr>
              <a:t> ХАТУ </a:t>
            </a:r>
            <a:r>
              <a:rPr lang="ru-RU" dirty="0" err="1">
                <a:solidFill>
                  <a:srgbClr val="2C4467"/>
                </a:solidFill>
              </a:rPr>
              <a:t>университеттерінің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студенттерімен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кездесулер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өткізілді</a:t>
            </a:r>
            <a:r>
              <a:rPr lang="ru-RU" dirty="0">
                <a:solidFill>
                  <a:srgbClr val="2C4467"/>
                </a:solidFill>
              </a:rPr>
              <a:t>.</a:t>
            </a:r>
          </a:p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dirty="0" err="1">
                <a:solidFill>
                  <a:srgbClr val="2C4467"/>
                </a:solidFill>
              </a:rPr>
              <a:t>Сондай-ақ</a:t>
            </a:r>
            <a:r>
              <a:rPr lang="ru-RU" dirty="0">
                <a:solidFill>
                  <a:srgbClr val="2C4467"/>
                </a:solidFill>
              </a:rPr>
              <a:t>, </a:t>
            </a:r>
            <a:r>
              <a:rPr lang="ru-RU" b="1" dirty="0">
                <a:solidFill>
                  <a:srgbClr val="2C4467"/>
                </a:solidFill>
              </a:rPr>
              <a:t>2022 </a:t>
            </a:r>
            <a:r>
              <a:rPr lang="ru-RU" b="1" dirty="0" err="1">
                <a:solidFill>
                  <a:srgbClr val="2C4467"/>
                </a:solidFill>
              </a:rPr>
              <a:t>жылдың</a:t>
            </a:r>
            <a:r>
              <a:rPr lang="ru-RU" b="1" dirty="0">
                <a:solidFill>
                  <a:srgbClr val="2C4467"/>
                </a:solidFill>
              </a:rPr>
              <a:t> 29 </a:t>
            </a:r>
            <a:r>
              <a:rPr lang="ru-RU" b="1" dirty="0" err="1">
                <a:solidFill>
                  <a:srgbClr val="2C4467"/>
                </a:solidFill>
              </a:rPr>
              <a:t>наурызында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en-US" b="1" dirty="0">
                <a:solidFill>
                  <a:srgbClr val="2C4467"/>
                </a:solidFill>
              </a:rPr>
              <a:t>SDU</a:t>
            </a:r>
            <a:r>
              <a:rPr lang="en-US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университетінде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en-US" b="1" dirty="0">
                <a:solidFill>
                  <a:srgbClr val="2C4467"/>
                </a:solidFill>
              </a:rPr>
              <a:t>Prime Source </a:t>
            </a:r>
            <a:r>
              <a:rPr lang="ru-RU" b="1" dirty="0" err="1">
                <a:solidFill>
                  <a:srgbClr val="2C4467"/>
                </a:solidFill>
              </a:rPr>
              <a:t>компаниясымен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бірге</a:t>
            </a:r>
            <a:r>
              <a:rPr lang="ru-RU" b="1" dirty="0">
                <a:solidFill>
                  <a:srgbClr val="2C4467"/>
                </a:solidFill>
              </a:rPr>
              <a:t> 3-4 курс </a:t>
            </a:r>
            <a:r>
              <a:rPr lang="ru-RU" b="1" dirty="0" err="1">
                <a:solidFill>
                  <a:srgbClr val="2C4467"/>
                </a:solidFill>
              </a:rPr>
              <a:t>студенттерімен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іс</a:t>
            </a:r>
            <a:r>
              <a:rPr lang="ru-RU" dirty="0">
                <a:solidFill>
                  <a:srgbClr val="2C4467"/>
                </a:solidFill>
              </a:rPr>
              <a:t>-шара </a:t>
            </a:r>
            <a:r>
              <a:rPr lang="ru-RU" dirty="0" err="1">
                <a:solidFill>
                  <a:srgbClr val="2C4467"/>
                </a:solidFill>
              </a:rPr>
              <a:t>өткізілді</a:t>
            </a:r>
            <a:r>
              <a:rPr lang="ru-RU" dirty="0">
                <a:solidFill>
                  <a:srgbClr val="2C4467"/>
                </a:solidFill>
              </a:rPr>
              <a:t>.</a:t>
            </a:r>
          </a:p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b="1" dirty="0">
                <a:solidFill>
                  <a:srgbClr val="2C4467"/>
                </a:solidFill>
              </a:rPr>
              <a:t>2022 </a:t>
            </a:r>
            <a:r>
              <a:rPr lang="ru-RU" b="1" dirty="0" err="1">
                <a:solidFill>
                  <a:srgbClr val="2C4467"/>
                </a:solidFill>
              </a:rPr>
              <a:t>жылдың</a:t>
            </a:r>
            <a:r>
              <a:rPr lang="ru-RU" b="1" dirty="0">
                <a:solidFill>
                  <a:srgbClr val="2C4467"/>
                </a:solidFill>
              </a:rPr>
              <a:t> 8 </a:t>
            </a:r>
            <a:r>
              <a:rPr lang="ru-RU" b="1" dirty="0" err="1">
                <a:solidFill>
                  <a:srgbClr val="2C4467"/>
                </a:solidFill>
              </a:rPr>
              <a:t>сәуірінде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en-US" b="1" dirty="0" err="1">
                <a:solidFill>
                  <a:srgbClr val="2C4467"/>
                </a:solidFill>
              </a:rPr>
              <a:t>AlmaU</a:t>
            </a:r>
            <a:r>
              <a:rPr lang="en-US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университетінің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студенттерімен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en-US" b="1" dirty="0" err="1">
                <a:solidFill>
                  <a:srgbClr val="2C4467"/>
                </a:solidFill>
              </a:rPr>
              <a:t>KoronaPay</a:t>
            </a:r>
            <a:r>
              <a:rPr lang="en-US" b="1" dirty="0">
                <a:solidFill>
                  <a:srgbClr val="2C4467"/>
                </a:solidFill>
              </a:rPr>
              <a:t> </a:t>
            </a:r>
            <a:r>
              <a:rPr lang="ru-RU" b="1" dirty="0" err="1">
                <a:solidFill>
                  <a:srgbClr val="2C4467"/>
                </a:solidFill>
              </a:rPr>
              <a:t>компаниясымен</a:t>
            </a:r>
            <a:r>
              <a:rPr lang="ru-RU" b="1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кездесу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жоспарлануда</a:t>
            </a:r>
            <a:r>
              <a:rPr lang="ru-RU" dirty="0">
                <a:solidFill>
                  <a:srgbClr val="2C4467"/>
                </a:solidFill>
              </a:rPr>
              <a:t>.</a:t>
            </a:r>
          </a:p>
          <a:p>
            <a:pPr marL="12700" marR="5080" algn="just">
              <a:spcBef>
                <a:spcPts val="1000"/>
              </a:spcBef>
              <a:buClr>
                <a:srgbClr val="1F385D"/>
              </a:buClr>
              <a:buSzPct val="100000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 lang="ru-RU" dirty="0">
              <a:solidFill>
                <a:srgbClr val="2C4467"/>
              </a:solidFill>
            </a:endParaRPr>
          </a:p>
        </p:txBody>
      </p:sp>
      <p:sp>
        <p:nvSpPr>
          <p:cNvPr id="34" name="Shape 2937">
            <a:extLst>
              <a:ext uri="{FF2B5EF4-FFF2-40B4-BE49-F238E27FC236}">
                <a16:creationId xmlns:a16="http://schemas.microsoft.com/office/drawing/2014/main" id="{B108D001-FD47-4F4E-B9B8-2D2B9064816E}"/>
              </a:ext>
            </a:extLst>
          </p:cNvPr>
          <p:cNvSpPr/>
          <p:nvPr/>
        </p:nvSpPr>
        <p:spPr>
          <a:xfrm>
            <a:off x="8350846" y="2284837"/>
            <a:ext cx="3553484" cy="40934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dirty="0" err="1">
                <a:solidFill>
                  <a:srgbClr val="2C4467"/>
                </a:solidFill>
              </a:rPr>
              <a:t>Жоғары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оқу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орындарының</a:t>
            </a:r>
            <a:r>
              <a:rPr lang="ru-RU" dirty="0">
                <a:solidFill>
                  <a:srgbClr val="2C4467"/>
                </a:solidFill>
              </a:rPr>
              <a:t>, 13 </a:t>
            </a:r>
            <a:r>
              <a:rPr lang="ru-RU" dirty="0" err="1">
                <a:solidFill>
                  <a:srgbClr val="2C4467"/>
                </a:solidFill>
              </a:rPr>
              <a:t>техникалық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колледждер</a:t>
            </a:r>
            <a:r>
              <a:rPr lang="ru-RU" dirty="0">
                <a:solidFill>
                  <a:srgbClr val="2C4467"/>
                </a:solidFill>
              </a:rPr>
              <a:t> мен </a:t>
            </a:r>
            <a:r>
              <a:rPr lang="ru-RU" dirty="0" err="1">
                <a:solidFill>
                  <a:srgbClr val="2C4467"/>
                </a:solidFill>
              </a:rPr>
              <a:t>бағдарламалау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мектептерінің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b="1" dirty="0">
                <a:solidFill>
                  <a:srgbClr val="2C4467"/>
                </a:solidFill>
              </a:rPr>
              <a:t>(СДУ, ҚБТУ, КИМЭП, АТУ, </a:t>
            </a:r>
            <a:r>
              <a:rPr lang="en-US" b="1" dirty="0" err="1">
                <a:solidFill>
                  <a:srgbClr val="2C4467"/>
                </a:solidFill>
              </a:rPr>
              <a:t>AlmaU</a:t>
            </a:r>
            <a:r>
              <a:rPr lang="en-US" b="1" dirty="0">
                <a:solidFill>
                  <a:srgbClr val="2C4467"/>
                </a:solidFill>
              </a:rPr>
              <a:t>, </a:t>
            </a:r>
            <a:r>
              <a:rPr lang="ru-RU" b="1" dirty="0" err="1">
                <a:solidFill>
                  <a:srgbClr val="2C4467"/>
                </a:solidFill>
              </a:rPr>
              <a:t>Нархоз</a:t>
            </a:r>
            <a:r>
              <a:rPr lang="ru-RU" b="1" dirty="0">
                <a:solidFill>
                  <a:srgbClr val="2C4467"/>
                </a:solidFill>
              </a:rPr>
              <a:t>, </a:t>
            </a:r>
            <a:r>
              <a:rPr lang="en-US" b="1" dirty="0">
                <a:solidFill>
                  <a:srgbClr val="2C4467"/>
                </a:solidFill>
              </a:rPr>
              <a:t>IITU, </a:t>
            </a:r>
            <a:r>
              <a:rPr lang="en-US" b="1" dirty="0" err="1">
                <a:solidFill>
                  <a:srgbClr val="2C4467"/>
                </a:solidFill>
              </a:rPr>
              <a:t>Satbayev</a:t>
            </a:r>
            <a:r>
              <a:rPr lang="en-US" b="1" dirty="0">
                <a:solidFill>
                  <a:srgbClr val="2C4467"/>
                </a:solidFill>
              </a:rPr>
              <a:t> university, </a:t>
            </a:r>
            <a:r>
              <a:rPr lang="ru-RU" b="1" dirty="0" err="1">
                <a:solidFill>
                  <a:srgbClr val="2C4467"/>
                </a:solidFill>
              </a:rPr>
              <a:t>ҚазҰУ</a:t>
            </a:r>
            <a:r>
              <a:rPr lang="ru-RU" b="1" dirty="0">
                <a:solidFill>
                  <a:srgbClr val="2C4467"/>
                </a:solidFill>
              </a:rPr>
              <a:t>) </a:t>
            </a:r>
            <a:r>
              <a:rPr lang="ru-RU" dirty="0">
                <a:solidFill>
                  <a:srgbClr val="2C4467"/>
                </a:solidFill>
              </a:rPr>
              <a:t>контент-</a:t>
            </a:r>
            <a:r>
              <a:rPr lang="ru-RU" dirty="0" err="1">
                <a:solidFill>
                  <a:srgbClr val="2C4467"/>
                </a:solidFill>
              </a:rPr>
              <a:t>курстарына</a:t>
            </a:r>
            <a:r>
              <a:rPr lang="ru-RU" dirty="0">
                <a:solidFill>
                  <a:srgbClr val="2C4467"/>
                </a:solidFill>
              </a:rPr>
              <a:t> толы;</a:t>
            </a:r>
            <a:endParaRPr lang="en-US" dirty="0">
              <a:solidFill>
                <a:srgbClr val="2C4467"/>
              </a:solidFill>
            </a:endParaRPr>
          </a:p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dirty="0">
                <a:solidFill>
                  <a:srgbClr val="2C4467"/>
                </a:solidFill>
              </a:rPr>
              <a:t>Home Credit University IT HUB </a:t>
            </a:r>
            <a:r>
              <a:rPr lang="ru-RU" dirty="0" err="1">
                <a:solidFill>
                  <a:srgbClr val="2C4467"/>
                </a:solidFill>
              </a:rPr>
              <a:t>және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en-US" dirty="0" err="1">
                <a:solidFill>
                  <a:srgbClr val="2C4467"/>
                </a:solidFill>
              </a:rPr>
              <a:t>Halyk</a:t>
            </a:r>
            <a:r>
              <a:rPr lang="en-US" dirty="0">
                <a:solidFill>
                  <a:srgbClr val="2C4467"/>
                </a:solidFill>
              </a:rPr>
              <a:t> Academy </a:t>
            </a:r>
            <a:r>
              <a:rPr lang="ru-RU" dirty="0">
                <a:solidFill>
                  <a:srgbClr val="2C4467"/>
                </a:solidFill>
              </a:rPr>
              <a:t>контент-</a:t>
            </a:r>
            <a:r>
              <a:rPr lang="ru-RU" dirty="0" err="1">
                <a:solidFill>
                  <a:srgbClr val="2C4467"/>
                </a:solidFill>
              </a:rPr>
              <a:t>курстарына</a:t>
            </a:r>
            <a:r>
              <a:rPr lang="ru-RU" dirty="0">
                <a:solidFill>
                  <a:srgbClr val="2C4467"/>
                </a:solidFill>
              </a:rPr>
              <a:t> толы</a:t>
            </a:r>
            <a:r>
              <a:rPr lang="kk-KZ" dirty="0" err="1">
                <a:solidFill>
                  <a:srgbClr val="2C4467"/>
                </a:solidFill>
              </a:rPr>
              <a:t>ққан</a:t>
            </a:r>
            <a:r>
              <a:rPr lang="ru-RU" dirty="0">
                <a:solidFill>
                  <a:srgbClr val="2C4467"/>
                </a:solidFill>
              </a:rPr>
              <a:t>;</a:t>
            </a:r>
            <a:endParaRPr lang="en-US" dirty="0">
              <a:solidFill>
                <a:srgbClr val="2C4467"/>
              </a:solidFill>
            </a:endParaRPr>
          </a:p>
          <a:p>
            <a:pPr marL="184150" marR="5080" indent="-171450" algn="just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dirty="0">
                <a:solidFill>
                  <a:srgbClr val="2C4467"/>
                </a:solidFill>
              </a:rPr>
              <a:t>2022 </a:t>
            </a:r>
            <a:r>
              <a:rPr lang="ru-RU" dirty="0" err="1">
                <a:solidFill>
                  <a:srgbClr val="2C4467"/>
                </a:solidFill>
              </a:rPr>
              <a:t>жылдың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тамыз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айында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платформада</a:t>
            </a:r>
            <a:r>
              <a:rPr lang="ru-RU" dirty="0">
                <a:solidFill>
                  <a:srgbClr val="2C4467"/>
                </a:solidFill>
              </a:rPr>
              <a:t> </a:t>
            </a:r>
            <a:r>
              <a:rPr lang="ru-RU" dirty="0" err="1">
                <a:solidFill>
                  <a:srgbClr val="2C4467"/>
                </a:solidFill>
              </a:rPr>
              <a:t>тіркелді</a:t>
            </a:r>
            <a:r>
              <a:rPr lang="ru-RU" dirty="0">
                <a:solidFill>
                  <a:srgbClr val="2C4467"/>
                </a:solidFill>
              </a:rPr>
              <a:t>:</a:t>
            </a:r>
          </a:p>
          <a:p>
            <a:pPr marR="5080" indent="-171450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sz="1200" b="1" dirty="0">
                <a:solidFill>
                  <a:srgbClr val="2C4467"/>
                </a:solidFill>
              </a:rPr>
              <a:t>4229 АТ-</a:t>
            </a:r>
            <a:r>
              <a:rPr lang="ru-RU" sz="1200" b="1" dirty="0" err="1">
                <a:solidFill>
                  <a:srgbClr val="2C4467"/>
                </a:solidFill>
              </a:rPr>
              <a:t>таланттар</a:t>
            </a:r>
            <a:r>
              <a:rPr lang="ru-RU" sz="1200" b="1" dirty="0">
                <a:solidFill>
                  <a:srgbClr val="2C4467"/>
                </a:solidFill>
              </a:rPr>
              <a:t>;</a:t>
            </a:r>
          </a:p>
          <a:p>
            <a:pPr marR="5080" indent="-171450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sz="1200" b="1" dirty="0">
                <a:solidFill>
                  <a:srgbClr val="2C4467"/>
                </a:solidFill>
              </a:rPr>
              <a:t>24 АТ-</a:t>
            </a:r>
            <a:r>
              <a:rPr lang="ru-RU" sz="1200" b="1" dirty="0" err="1">
                <a:solidFill>
                  <a:srgbClr val="2C4467"/>
                </a:solidFill>
              </a:rPr>
              <a:t>компаниия</a:t>
            </a:r>
            <a:r>
              <a:rPr lang="ru-RU" sz="1200" b="1" dirty="0">
                <a:solidFill>
                  <a:srgbClr val="2C4467"/>
                </a:solidFill>
              </a:rPr>
              <a:t>;</a:t>
            </a:r>
          </a:p>
          <a:p>
            <a:pPr marR="5080" indent="-171450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sz="1200" b="1" dirty="0">
                <a:solidFill>
                  <a:srgbClr val="2C4467"/>
                </a:solidFill>
              </a:rPr>
              <a:t>23 бизнес </a:t>
            </a:r>
            <a:r>
              <a:rPr lang="ru-RU" sz="1200" b="1" dirty="0" err="1">
                <a:solidFill>
                  <a:srgbClr val="2C4467"/>
                </a:solidFill>
              </a:rPr>
              <a:t>тарапынан</a:t>
            </a:r>
            <a:r>
              <a:rPr lang="ru-RU" sz="1200" b="1" dirty="0">
                <a:solidFill>
                  <a:srgbClr val="2C4467"/>
                </a:solidFill>
              </a:rPr>
              <a:t> бос </a:t>
            </a:r>
            <a:r>
              <a:rPr lang="ru-RU" sz="1200" b="1" dirty="0" err="1">
                <a:solidFill>
                  <a:srgbClr val="2C4467"/>
                </a:solidFill>
              </a:rPr>
              <a:t>орын</a:t>
            </a:r>
            <a:r>
              <a:rPr lang="ru-RU" sz="1200" b="1" dirty="0">
                <a:solidFill>
                  <a:srgbClr val="2C4467"/>
                </a:solidFill>
              </a:rPr>
              <a:t>;</a:t>
            </a:r>
          </a:p>
          <a:p>
            <a:pPr marR="5080" indent="-171450">
              <a:spcBef>
                <a:spcPts val="1000"/>
              </a:spcBef>
              <a:buClr>
                <a:srgbClr val="1F385D"/>
              </a:buClr>
              <a:buSzPct val="100000"/>
              <a:buFont typeface="Wingdings" panose="05000000000000000000" pitchFamily="2" charset="2"/>
              <a:buChar char="§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sz="1200" b="1" dirty="0">
                <a:solidFill>
                  <a:srgbClr val="2C4467"/>
                </a:solidFill>
              </a:rPr>
              <a:t>55 </a:t>
            </a:r>
            <a:r>
              <a:rPr lang="ru-RU" sz="1200" b="1" dirty="0" err="1">
                <a:solidFill>
                  <a:srgbClr val="2C4467"/>
                </a:solidFill>
              </a:rPr>
              <a:t>білім</a:t>
            </a:r>
            <a:r>
              <a:rPr lang="ru-RU" sz="1200" b="1" dirty="0">
                <a:solidFill>
                  <a:srgbClr val="2C4467"/>
                </a:solidFill>
              </a:rPr>
              <a:t> беру </a:t>
            </a:r>
            <a:r>
              <a:rPr lang="ru-RU" sz="1200" b="1" dirty="0" err="1">
                <a:solidFill>
                  <a:srgbClr val="2C4467"/>
                </a:solidFill>
              </a:rPr>
              <a:t>курстары</a:t>
            </a:r>
            <a:r>
              <a:rPr lang="ru-RU" sz="1200" b="1" dirty="0">
                <a:solidFill>
                  <a:srgbClr val="2C4467"/>
                </a:solidFill>
              </a:rPr>
              <a:t>.</a:t>
            </a:r>
          </a:p>
          <a:p>
            <a:pPr marL="469900" marR="5080" lvl="1" algn="just">
              <a:buClr>
                <a:srgbClr val="1F385D"/>
              </a:buClr>
              <a:buSzPct val="100000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 lang="ru-RU" sz="1200" b="1" dirty="0">
              <a:solidFill>
                <a:srgbClr val="2C4467"/>
              </a:solidFill>
            </a:endParaRPr>
          </a:p>
          <a:p>
            <a:pPr marL="12700" marR="5080" algn="just">
              <a:buClr>
                <a:srgbClr val="1F385D"/>
              </a:buClr>
              <a:buSzPct val="100000"/>
              <a:defRPr sz="1200">
                <a:solidFill>
                  <a:srgbClr val="231F20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ru-RU" sz="1200" dirty="0" err="1">
                <a:solidFill>
                  <a:srgbClr val="2C4467"/>
                </a:solidFill>
              </a:rPr>
              <a:t>Сондай-ақ</a:t>
            </a:r>
            <a:r>
              <a:rPr lang="ru-RU" sz="1200" dirty="0">
                <a:solidFill>
                  <a:srgbClr val="2C4467"/>
                </a:solidFill>
              </a:rPr>
              <a:t>, </a:t>
            </a:r>
            <a:r>
              <a:rPr lang="ru-RU" sz="1200" b="1" dirty="0">
                <a:solidFill>
                  <a:srgbClr val="2C4467"/>
                </a:solidFill>
              </a:rPr>
              <a:t>2022 </a:t>
            </a:r>
            <a:r>
              <a:rPr lang="ru-RU" sz="1200" b="1" dirty="0" err="1">
                <a:solidFill>
                  <a:srgbClr val="2C4467"/>
                </a:solidFill>
              </a:rPr>
              <a:t>жылғы</a:t>
            </a:r>
            <a:r>
              <a:rPr lang="ru-RU" sz="1200" b="1" dirty="0">
                <a:solidFill>
                  <a:srgbClr val="2C4467"/>
                </a:solidFill>
              </a:rPr>
              <a:t> 22 </a:t>
            </a:r>
            <a:r>
              <a:rPr lang="ru-RU" sz="1200" b="1" dirty="0" err="1">
                <a:solidFill>
                  <a:srgbClr val="2C4467"/>
                </a:solidFill>
              </a:rPr>
              <a:t>шілдеде</a:t>
            </a:r>
            <a:r>
              <a:rPr lang="ru-RU" sz="1200" b="1" dirty="0">
                <a:solidFill>
                  <a:srgbClr val="2C4467"/>
                </a:solidFill>
              </a:rPr>
              <a:t> </a:t>
            </a:r>
            <a:r>
              <a:rPr lang="en-US" sz="1200" dirty="0" err="1">
                <a:solidFill>
                  <a:srgbClr val="2C4467"/>
                </a:solidFill>
              </a:rPr>
              <a:t>Jusan</a:t>
            </a:r>
            <a:r>
              <a:rPr lang="en-US" sz="1200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банкімен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r>
              <a:rPr lang="ru-RU" sz="1200" b="1" dirty="0">
                <a:solidFill>
                  <a:srgbClr val="2C4467"/>
                </a:solidFill>
              </a:rPr>
              <a:t>152 </a:t>
            </a:r>
            <a:r>
              <a:rPr lang="ru-RU" sz="1200" b="1" dirty="0" err="1">
                <a:solidFill>
                  <a:srgbClr val="2C4467"/>
                </a:solidFill>
              </a:rPr>
              <a:t>маманды</a:t>
            </a:r>
            <a:r>
              <a:rPr lang="ru-RU" sz="1200" b="1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тегін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оқыту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негізінде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br>
              <a:rPr lang="ru-RU" sz="1200" dirty="0">
                <a:solidFill>
                  <a:srgbClr val="2C4467"/>
                </a:solidFill>
              </a:rPr>
            </a:br>
            <a:r>
              <a:rPr lang="ru-RU" sz="1200" dirty="0">
                <a:solidFill>
                  <a:srgbClr val="2C4467"/>
                </a:solidFill>
              </a:rPr>
              <a:t>4 </a:t>
            </a:r>
            <a:r>
              <a:rPr lang="ru-RU" sz="1200" dirty="0" err="1">
                <a:solidFill>
                  <a:srgbClr val="2C4467"/>
                </a:solidFill>
              </a:rPr>
              <a:t>айлық</a:t>
            </a:r>
            <a:r>
              <a:rPr lang="ru-RU" sz="1200" dirty="0">
                <a:solidFill>
                  <a:srgbClr val="2C4467"/>
                </a:solidFill>
              </a:rPr>
              <a:t> (350 </a:t>
            </a:r>
            <a:r>
              <a:rPr lang="ru-RU" sz="1200" dirty="0" err="1">
                <a:solidFill>
                  <a:srgbClr val="2C4467"/>
                </a:solidFill>
              </a:rPr>
              <a:t>академиялық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сағат</a:t>
            </a:r>
            <a:r>
              <a:rPr lang="ru-RU" sz="1200" dirty="0">
                <a:solidFill>
                  <a:srgbClr val="2C4467"/>
                </a:solidFill>
              </a:rPr>
              <a:t>) </a:t>
            </a:r>
            <a:r>
              <a:rPr lang="ru-RU" sz="1200" dirty="0" err="1">
                <a:solidFill>
                  <a:srgbClr val="2C4467"/>
                </a:solidFill>
              </a:rPr>
              <a:t>пилоттық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жоба</a:t>
            </a:r>
            <a:r>
              <a:rPr lang="ru-RU" sz="1200" dirty="0">
                <a:solidFill>
                  <a:srgbClr val="2C4467"/>
                </a:solidFill>
              </a:rPr>
              <a:t> </a:t>
            </a:r>
            <a:r>
              <a:rPr lang="ru-RU" sz="1200" dirty="0" err="1">
                <a:solidFill>
                  <a:srgbClr val="2C4467"/>
                </a:solidFill>
              </a:rPr>
              <a:t>аяқталды</a:t>
            </a:r>
            <a:r>
              <a:rPr lang="ru-RU" sz="1200" dirty="0">
                <a:solidFill>
                  <a:srgbClr val="2C4467"/>
                </a:solidFill>
              </a:rPr>
              <a:t>.</a:t>
            </a:r>
          </a:p>
        </p:txBody>
      </p:sp>
      <p:pic>
        <p:nvPicPr>
          <p:cNvPr id="37" name="image15.pdf">
            <a:extLst>
              <a:ext uri="{FF2B5EF4-FFF2-40B4-BE49-F238E27FC236}">
                <a16:creationId xmlns:a16="http://schemas.microsoft.com/office/drawing/2014/main" id="{CFD26564-C86D-4C9C-8A47-2A6B548501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64019" y="1881423"/>
            <a:ext cx="314326" cy="313868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Shape 2927">
            <a:extLst>
              <a:ext uri="{FF2B5EF4-FFF2-40B4-BE49-F238E27FC236}">
                <a16:creationId xmlns:a16="http://schemas.microsoft.com/office/drawing/2014/main" id="{9A052B65-B579-4428-9354-534BA509A83E}"/>
              </a:ext>
            </a:extLst>
          </p:cNvPr>
          <p:cNvSpPr/>
          <p:nvPr/>
        </p:nvSpPr>
        <p:spPr>
          <a:xfrm>
            <a:off x="8456355" y="1915567"/>
            <a:ext cx="344797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marR="5080" indent="12700">
              <a:spcBef>
                <a:spcPts val="1000"/>
              </a:spcBef>
              <a:defRPr sz="1200" b="1">
                <a:solidFill>
                  <a:srgbClr val="1F385D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ru-RU" sz="1600" dirty="0"/>
              <a:t>Н</a:t>
            </a:r>
            <a:r>
              <a:rPr lang="kk-KZ" sz="1600" dirty="0"/>
              <a:t>ӘТИЖЕЛЕРІ</a:t>
            </a:r>
            <a:endParaRPr dirty="0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5BC41D47-7D06-4742-A3B0-F5BF48B8DAF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53" b="19157"/>
          <a:stretch/>
        </p:blipFill>
        <p:spPr>
          <a:xfrm>
            <a:off x="2172158" y="129486"/>
            <a:ext cx="1077294" cy="723835"/>
          </a:xfrm>
          <a:prstGeom prst="rect">
            <a:avLst/>
          </a:prstGeom>
        </p:spPr>
      </p:pic>
      <p:pic>
        <p:nvPicPr>
          <p:cNvPr id="44" name="Рисунок 43" descr="Изображение выглядит как текст, часы, знак&#10;&#10;Автоматически созданное описание">
            <a:extLst>
              <a:ext uri="{FF2B5EF4-FFF2-40B4-BE49-F238E27FC236}">
                <a16:creationId xmlns:a16="http://schemas.microsoft.com/office/drawing/2014/main" id="{6EDF9252-EAAC-4C71-9E16-8EBE624179A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234" y="281415"/>
            <a:ext cx="1749270" cy="491700"/>
          </a:xfrm>
          <a:prstGeom prst="rect">
            <a:avLst/>
          </a:prstGeom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E5E45F50-F2A0-4A23-B36C-9A4FB159644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862" y="150152"/>
            <a:ext cx="461237" cy="704948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034E7D7E-D4C3-4973-8B86-DEB12DEFAC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2922" y="209688"/>
            <a:ext cx="536323" cy="626570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08B67915-0E36-4AAF-986F-E7DC2ABAA51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59" y="363166"/>
            <a:ext cx="1060872" cy="448665"/>
          </a:xfrm>
          <a:prstGeom prst="rect">
            <a:avLst/>
          </a:prstGeom>
        </p:spPr>
      </p:pic>
      <p:sp>
        <p:nvSpPr>
          <p:cNvPr id="27" name="object 27">
            <a:extLst>
              <a:ext uri="{FF2B5EF4-FFF2-40B4-BE49-F238E27FC236}">
                <a16:creationId xmlns:a16="http://schemas.microsoft.com/office/drawing/2014/main" id="{87138EBB-EE69-425C-BA60-274B07378CA4}"/>
              </a:ext>
            </a:extLst>
          </p:cNvPr>
          <p:cNvSpPr/>
          <p:nvPr/>
        </p:nvSpPr>
        <p:spPr>
          <a:xfrm>
            <a:off x="10466922" y="-5653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0" name="Рисунок 59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4487FDA7-E648-4AA4-A68C-F2AB256E17E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3490" y="2658787"/>
            <a:ext cx="2300895" cy="3252914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6B1E87BE-BF72-46F9-90EB-51320127C8B7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2576" y="2444103"/>
            <a:ext cx="1445175" cy="1445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2" name="Группа 72">
            <a:extLst>
              <a:ext uri="{FF2B5EF4-FFF2-40B4-BE49-F238E27FC236}">
                <a16:creationId xmlns:a16="http://schemas.microsoft.com/office/drawing/2014/main" id="{2884B729-5BE2-488D-AFFD-5CE940AD96F5}"/>
              </a:ext>
            </a:extLst>
          </p:cNvPr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63" name="Группа 79">
              <a:extLst>
                <a:ext uri="{FF2B5EF4-FFF2-40B4-BE49-F238E27FC236}">
                  <a16:creationId xmlns:a16="http://schemas.microsoft.com/office/drawing/2014/main" id="{2697B131-A576-4EB1-972B-94C7892AB9C6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67" name="object 48">
                <a:extLst>
                  <a:ext uri="{FF2B5EF4-FFF2-40B4-BE49-F238E27FC236}">
                    <a16:creationId xmlns:a16="http://schemas.microsoft.com/office/drawing/2014/main" id="{7633092B-1F71-48DC-B55D-054AE6AF567C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68" name="object 48">
                <a:extLst>
                  <a:ext uri="{FF2B5EF4-FFF2-40B4-BE49-F238E27FC236}">
                    <a16:creationId xmlns:a16="http://schemas.microsoft.com/office/drawing/2014/main" id="{EC5D9F44-D892-4F9C-BF04-D27F065BD2BA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64" name="Группа 85">
              <a:extLst>
                <a:ext uri="{FF2B5EF4-FFF2-40B4-BE49-F238E27FC236}">
                  <a16:creationId xmlns:a16="http://schemas.microsoft.com/office/drawing/2014/main" id="{46F7CEA8-3C16-416A-87C0-AB4D3ACCD35D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65" name="object 48">
                <a:extLst>
                  <a:ext uri="{FF2B5EF4-FFF2-40B4-BE49-F238E27FC236}">
                    <a16:creationId xmlns:a16="http://schemas.microsoft.com/office/drawing/2014/main" id="{6F0440A9-6E10-4B37-8B21-392454FCFF25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66" name="object 48">
                <a:extLst>
                  <a:ext uri="{FF2B5EF4-FFF2-40B4-BE49-F238E27FC236}">
                    <a16:creationId xmlns:a16="http://schemas.microsoft.com/office/drawing/2014/main" id="{D0D41223-7F69-42E5-8ED5-66D2695C7BEB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EDCAED44-1973-4A6D-9707-80CA4801533E}"/>
              </a:ext>
            </a:extLst>
          </p:cNvPr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70" name="Группа 73">
              <a:extLst>
                <a:ext uri="{FF2B5EF4-FFF2-40B4-BE49-F238E27FC236}">
                  <a16:creationId xmlns:a16="http://schemas.microsoft.com/office/drawing/2014/main" id="{C70648C2-E76B-4733-8D9B-61F47F03AA90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74" name="object 48">
                <a:extLst>
                  <a:ext uri="{FF2B5EF4-FFF2-40B4-BE49-F238E27FC236}">
                    <a16:creationId xmlns:a16="http://schemas.microsoft.com/office/drawing/2014/main" id="{BB20265D-F9D7-40BC-91D3-99197D6D7A25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75" name="object 48">
                <a:extLst>
                  <a:ext uri="{FF2B5EF4-FFF2-40B4-BE49-F238E27FC236}">
                    <a16:creationId xmlns:a16="http://schemas.microsoft.com/office/drawing/2014/main" id="{CC8F8C44-A6E0-4B82-80C2-E5FBACA5AAAB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71" name="Группа 74">
              <a:extLst>
                <a:ext uri="{FF2B5EF4-FFF2-40B4-BE49-F238E27FC236}">
                  <a16:creationId xmlns:a16="http://schemas.microsoft.com/office/drawing/2014/main" id="{F403E2DB-747F-467D-9005-643B9A4502FB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72" name="object 48">
                <a:extLst>
                  <a:ext uri="{FF2B5EF4-FFF2-40B4-BE49-F238E27FC236}">
                    <a16:creationId xmlns:a16="http://schemas.microsoft.com/office/drawing/2014/main" id="{0FDC6C63-9727-4A42-8894-6D407B5BC19E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73" name="object 48">
                <a:extLst>
                  <a:ext uri="{FF2B5EF4-FFF2-40B4-BE49-F238E27FC236}">
                    <a16:creationId xmlns:a16="http://schemas.microsoft.com/office/drawing/2014/main" id="{83A453F6-9C63-455B-AC86-6824AF07AA07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</p:spTree>
  </p:cSld>
  <p:clrMapOvr>
    <a:masterClrMapping/>
  </p:clrMapOvr>
  <p:transition spd="slow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94672" y="222398"/>
            <a:ext cx="409359" cy="500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971772" y="348118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84" y="20205"/>
                </a:moveTo>
                <a:lnTo>
                  <a:pt x="664629" y="20205"/>
                </a:lnTo>
                <a:lnTo>
                  <a:pt x="664629" y="68656"/>
                </a:lnTo>
                <a:lnTo>
                  <a:pt x="664921" y="68656"/>
                </a:lnTo>
                <a:lnTo>
                  <a:pt x="670026" y="69062"/>
                </a:lnTo>
                <a:lnTo>
                  <a:pt x="676922" y="69265"/>
                </a:lnTo>
                <a:lnTo>
                  <a:pt x="692061" y="69265"/>
                </a:lnTo>
                <a:lnTo>
                  <a:pt x="696595" y="68186"/>
                </a:lnTo>
                <a:lnTo>
                  <a:pt x="701903" y="63868"/>
                </a:lnTo>
                <a:lnTo>
                  <a:pt x="702331" y="62598"/>
                </a:lnTo>
                <a:lnTo>
                  <a:pt x="684326" y="62598"/>
                </a:lnTo>
                <a:lnTo>
                  <a:pt x="672884" y="62496"/>
                </a:lnTo>
                <a:lnTo>
                  <a:pt x="672884" y="45275"/>
                </a:lnTo>
                <a:lnTo>
                  <a:pt x="702149" y="45275"/>
                </a:lnTo>
                <a:lnTo>
                  <a:pt x="701878" y="44488"/>
                </a:lnTo>
                <a:lnTo>
                  <a:pt x="696429" y="40106"/>
                </a:lnTo>
                <a:lnTo>
                  <a:pt x="691502" y="39001"/>
                </a:lnTo>
                <a:lnTo>
                  <a:pt x="672884" y="39001"/>
                </a:lnTo>
                <a:lnTo>
                  <a:pt x="672884" y="20205"/>
                </a:lnTo>
                <a:close/>
              </a:path>
              <a:path w="720725" h="70484">
                <a:moveTo>
                  <a:pt x="702149" y="45275"/>
                </a:moveTo>
                <a:lnTo>
                  <a:pt x="688314" y="45275"/>
                </a:lnTo>
                <a:lnTo>
                  <a:pt x="691032" y="45885"/>
                </a:lnTo>
                <a:lnTo>
                  <a:pt x="693940" y="48348"/>
                </a:lnTo>
                <a:lnTo>
                  <a:pt x="694677" y="50584"/>
                </a:lnTo>
                <a:lnTo>
                  <a:pt x="694677" y="57353"/>
                </a:lnTo>
                <a:lnTo>
                  <a:pt x="693928" y="59689"/>
                </a:lnTo>
                <a:lnTo>
                  <a:pt x="690943" y="62014"/>
                </a:lnTo>
                <a:lnTo>
                  <a:pt x="688238" y="62598"/>
                </a:lnTo>
                <a:lnTo>
                  <a:pt x="702331" y="62598"/>
                </a:lnTo>
                <a:lnTo>
                  <a:pt x="703237" y="59905"/>
                </a:lnTo>
                <a:lnTo>
                  <a:pt x="703210" y="48348"/>
                </a:lnTo>
                <a:lnTo>
                  <a:pt x="702149" y="45275"/>
                </a:lnTo>
                <a:close/>
              </a:path>
              <a:path w="720725" h="70484">
                <a:moveTo>
                  <a:pt x="720648" y="20205"/>
                </a:moveTo>
                <a:lnTo>
                  <a:pt x="712089" y="20205"/>
                </a:lnTo>
                <a:lnTo>
                  <a:pt x="712089" y="68656"/>
                </a:lnTo>
                <a:lnTo>
                  <a:pt x="720648" y="68656"/>
                </a:lnTo>
                <a:lnTo>
                  <a:pt x="720648" y="20205"/>
                </a:lnTo>
                <a:close/>
              </a:path>
              <a:path w="720725" h="70484">
                <a:moveTo>
                  <a:pt x="642734" y="19011"/>
                </a:moveTo>
                <a:lnTo>
                  <a:pt x="628015" y="19011"/>
                </a:lnTo>
                <a:lnTo>
                  <a:pt x="622084" y="20916"/>
                </a:lnTo>
                <a:lnTo>
                  <a:pt x="615111" y="28549"/>
                </a:lnTo>
                <a:lnTo>
                  <a:pt x="613371" y="35090"/>
                </a:lnTo>
                <a:lnTo>
                  <a:pt x="613371" y="53733"/>
                </a:lnTo>
                <a:lnTo>
                  <a:pt x="615099" y="60324"/>
                </a:lnTo>
                <a:lnTo>
                  <a:pt x="621995" y="67944"/>
                </a:lnTo>
                <a:lnTo>
                  <a:pt x="627938" y="69862"/>
                </a:lnTo>
                <a:lnTo>
                  <a:pt x="642670" y="69862"/>
                </a:lnTo>
                <a:lnTo>
                  <a:pt x="648182" y="69024"/>
                </a:lnTo>
                <a:lnTo>
                  <a:pt x="652881" y="67373"/>
                </a:lnTo>
                <a:lnTo>
                  <a:pt x="652222" y="62699"/>
                </a:lnTo>
                <a:lnTo>
                  <a:pt x="631913" y="62699"/>
                </a:lnTo>
                <a:lnTo>
                  <a:pt x="627875" y="61404"/>
                </a:lnTo>
                <a:lnTo>
                  <a:pt x="623366" y="56222"/>
                </a:lnTo>
                <a:lnTo>
                  <a:pt x="622236" y="51409"/>
                </a:lnTo>
                <a:lnTo>
                  <a:pt x="622236" y="37414"/>
                </a:lnTo>
                <a:lnTo>
                  <a:pt x="623379" y="32638"/>
                </a:lnTo>
                <a:lnTo>
                  <a:pt x="627964" y="27470"/>
                </a:lnTo>
                <a:lnTo>
                  <a:pt x="631977" y="26174"/>
                </a:lnTo>
                <a:lnTo>
                  <a:pt x="651018" y="26174"/>
                </a:lnTo>
                <a:lnTo>
                  <a:pt x="651979" y="21297"/>
                </a:lnTo>
                <a:lnTo>
                  <a:pt x="647941" y="19773"/>
                </a:lnTo>
                <a:lnTo>
                  <a:pt x="642734" y="19011"/>
                </a:lnTo>
                <a:close/>
              </a:path>
              <a:path w="720725" h="70484">
                <a:moveTo>
                  <a:pt x="652081" y="61696"/>
                </a:moveTo>
                <a:lnTo>
                  <a:pt x="647903" y="62356"/>
                </a:lnTo>
                <a:lnTo>
                  <a:pt x="643128" y="62699"/>
                </a:lnTo>
                <a:lnTo>
                  <a:pt x="652222" y="62699"/>
                </a:lnTo>
                <a:lnTo>
                  <a:pt x="652081" y="61696"/>
                </a:lnTo>
                <a:close/>
              </a:path>
              <a:path w="720725" h="70484">
                <a:moveTo>
                  <a:pt x="651018" y="26174"/>
                </a:moveTo>
                <a:lnTo>
                  <a:pt x="642137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8" y="26174"/>
                </a:lnTo>
                <a:close/>
              </a:path>
              <a:path w="720725" h="70484">
                <a:moveTo>
                  <a:pt x="599334" y="26174"/>
                </a:moveTo>
                <a:lnTo>
                  <a:pt x="585647" y="26174"/>
                </a:lnTo>
                <a:lnTo>
                  <a:pt x="588200" y="26796"/>
                </a:lnTo>
                <a:lnTo>
                  <a:pt x="589584" y="28066"/>
                </a:lnTo>
                <a:lnTo>
                  <a:pt x="590994" y="29324"/>
                </a:lnTo>
                <a:lnTo>
                  <a:pt x="591718" y="31483"/>
                </a:lnTo>
                <a:lnTo>
                  <a:pt x="591781" y="38811"/>
                </a:lnTo>
                <a:lnTo>
                  <a:pt x="567334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35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390" y="68681"/>
                </a:lnTo>
                <a:lnTo>
                  <a:pt x="587362" y="65163"/>
                </a:lnTo>
                <a:lnTo>
                  <a:pt x="590257" y="63093"/>
                </a:lnTo>
                <a:lnTo>
                  <a:pt x="590974" y="62356"/>
                </a:lnTo>
                <a:lnTo>
                  <a:pt x="576846" y="62356"/>
                </a:lnTo>
                <a:lnTo>
                  <a:pt x="574268" y="62293"/>
                </a:lnTo>
                <a:lnTo>
                  <a:pt x="571677" y="62293"/>
                </a:lnTo>
                <a:lnTo>
                  <a:pt x="569772" y="61709"/>
                </a:lnTo>
                <a:lnTo>
                  <a:pt x="567309" y="59385"/>
                </a:lnTo>
                <a:lnTo>
                  <a:pt x="566712" y="57543"/>
                </a:lnTo>
                <a:lnTo>
                  <a:pt x="566712" y="47701"/>
                </a:lnTo>
                <a:lnTo>
                  <a:pt x="568833" y="45478"/>
                </a:lnTo>
                <a:lnTo>
                  <a:pt x="573087" y="45275"/>
                </a:lnTo>
                <a:lnTo>
                  <a:pt x="600240" y="45275"/>
                </a:lnTo>
                <a:lnTo>
                  <a:pt x="600240" y="28892"/>
                </a:lnTo>
                <a:lnTo>
                  <a:pt x="599334" y="26174"/>
                </a:lnTo>
                <a:close/>
              </a:path>
              <a:path w="720725" h="70484">
                <a:moveTo>
                  <a:pt x="600240" y="60705"/>
                </a:moveTo>
                <a:lnTo>
                  <a:pt x="592582" y="60705"/>
                </a:lnTo>
                <a:lnTo>
                  <a:pt x="593572" y="68656"/>
                </a:lnTo>
                <a:lnTo>
                  <a:pt x="600240" y="68656"/>
                </a:lnTo>
                <a:lnTo>
                  <a:pt x="600240" y="60705"/>
                </a:lnTo>
                <a:close/>
              </a:path>
              <a:path w="720725" h="70484">
                <a:moveTo>
                  <a:pt x="600240" y="45275"/>
                </a:moveTo>
                <a:lnTo>
                  <a:pt x="591781" y="45275"/>
                </a:lnTo>
                <a:lnTo>
                  <a:pt x="591781" y="55029"/>
                </a:lnTo>
                <a:lnTo>
                  <a:pt x="589064" y="57416"/>
                </a:lnTo>
                <a:lnTo>
                  <a:pt x="586117" y="59245"/>
                </a:lnTo>
                <a:lnTo>
                  <a:pt x="579742" y="61760"/>
                </a:lnTo>
                <a:lnTo>
                  <a:pt x="576846" y="62356"/>
                </a:lnTo>
                <a:lnTo>
                  <a:pt x="590974" y="62356"/>
                </a:lnTo>
                <a:lnTo>
                  <a:pt x="592582" y="60705"/>
                </a:lnTo>
                <a:lnTo>
                  <a:pt x="600240" y="60705"/>
                </a:lnTo>
                <a:lnTo>
                  <a:pt x="600240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088" y="19011"/>
                </a:lnTo>
                <a:lnTo>
                  <a:pt x="569264" y="19735"/>
                </a:lnTo>
                <a:lnTo>
                  <a:pt x="560235" y="21196"/>
                </a:lnTo>
                <a:lnTo>
                  <a:pt x="561035" y="27470"/>
                </a:lnTo>
                <a:lnTo>
                  <a:pt x="570255" y="26606"/>
                </a:lnTo>
                <a:lnTo>
                  <a:pt x="577227" y="26174"/>
                </a:lnTo>
                <a:lnTo>
                  <a:pt x="599334" y="26174"/>
                </a:lnTo>
                <a:lnTo>
                  <a:pt x="598906" y="24891"/>
                </a:lnTo>
                <a:lnTo>
                  <a:pt x="593521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31" y="20205"/>
                </a:lnTo>
                <a:lnTo>
                  <a:pt x="517347" y="21132"/>
                </a:lnTo>
                <a:lnTo>
                  <a:pt x="513359" y="24841"/>
                </a:lnTo>
                <a:lnTo>
                  <a:pt x="512140" y="27698"/>
                </a:lnTo>
                <a:lnTo>
                  <a:pt x="511683" y="31546"/>
                </a:lnTo>
                <a:lnTo>
                  <a:pt x="510413" y="43751"/>
                </a:lnTo>
                <a:lnTo>
                  <a:pt x="508990" y="51879"/>
                </a:lnTo>
                <a:lnTo>
                  <a:pt x="498843" y="62699"/>
                </a:lnTo>
                <a:lnTo>
                  <a:pt x="499732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85" y="29108"/>
                </a:lnTo>
                <a:lnTo>
                  <a:pt x="522363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1" y="26174"/>
                </a:moveTo>
                <a:lnTo>
                  <a:pt x="474789" y="26174"/>
                </a:lnTo>
                <a:lnTo>
                  <a:pt x="477354" y="26796"/>
                </a:lnTo>
                <a:lnTo>
                  <a:pt x="480136" y="29324"/>
                </a:lnTo>
                <a:lnTo>
                  <a:pt x="480860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86" y="39852"/>
                </a:lnTo>
                <a:lnTo>
                  <a:pt x="448475" y="44030"/>
                </a:lnTo>
                <a:lnTo>
                  <a:pt x="447294" y="46964"/>
                </a:lnTo>
                <a:lnTo>
                  <a:pt x="447294" y="60337"/>
                </a:lnTo>
                <a:lnTo>
                  <a:pt x="448589" y="63665"/>
                </a:lnTo>
                <a:lnTo>
                  <a:pt x="453758" y="68376"/>
                </a:lnTo>
                <a:lnTo>
                  <a:pt x="457276" y="69557"/>
                </a:lnTo>
                <a:lnTo>
                  <a:pt x="465759" y="69557"/>
                </a:lnTo>
                <a:lnTo>
                  <a:pt x="469531" y="68681"/>
                </a:lnTo>
                <a:lnTo>
                  <a:pt x="476504" y="65163"/>
                </a:lnTo>
                <a:lnTo>
                  <a:pt x="479412" y="63093"/>
                </a:lnTo>
                <a:lnTo>
                  <a:pt x="480125" y="62356"/>
                </a:lnTo>
                <a:lnTo>
                  <a:pt x="466001" y="62356"/>
                </a:lnTo>
                <a:lnTo>
                  <a:pt x="463423" y="62293"/>
                </a:lnTo>
                <a:lnTo>
                  <a:pt x="460832" y="62293"/>
                </a:lnTo>
                <a:lnTo>
                  <a:pt x="458914" y="61709"/>
                </a:lnTo>
                <a:lnTo>
                  <a:pt x="456463" y="59385"/>
                </a:lnTo>
                <a:lnTo>
                  <a:pt x="455853" y="57543"/>
                </a:lnTo>
                <a:lnTo>
                  <a:pt x="455853" y="47701"/>
                </a:lnTo>
                <a:lnTo>
                  <a:pt x="457974" y="45478"/>
                </a:lnTo>
                <a:lnTo>
                  <a:pt x="462216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1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23" y="60705"/>
                </a:lnTo>
                <a:lnTo>
                  <a:pt x="482714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05" y="57416"/>
                </a:lnTo>
                <a:lnTo>
                  <a:pt x="475246" y="59245"/>
                </a:lnTo>
                <a:lnTo>
                  <a:pt x="468896" y="61760"/>
                </a:lnTo>
                <a:lnTo>
                  <a:pt x="466001" y="62356"/>
                </a:lnTo>
                <a:lnTo>
                  <a:pt x="480125" y="62356"/>
                </a:lnTo>
                <a:lnTo>
                  <a:pt x="481723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497" y="19011"/>
                </a:moveTo>
                <a:lnTo>
                  <a:pt x="466242" y="19011"/>
                </a:lnTo>
                <a:lnTo>
                  <a:pt x="458406" y="19735"/>
                </a:lnTo>
                <a:lnTo>
                  <a:pt x="449376" y="21196"/>
                </a:lnTo>
                <a:lnTo>
                  <a:pt x="450176" y="27470"/>
                </a:lnTo>
                <a:lnTo>
                  <a:pt x="459397" y="26606"/>
                </a:lnTo>
                <a:lnTo>
                  <a:pt x="466369" y="26174"/>
                </a:lnTo>
                <a:lnTo>
                  <a:pt x="488471" y="26174"/>
                </a:lnTo>
                <a:lnTo>
                  <a:pt x="488035" y="24891"/>
                </a:lnTo>
                <a:lnTo>
                  <a:pt x="482663" y="20180"/>
                </a:lnTo>
                <a:lnTo>
                  <a:pt x="478497" y="19011"/>
                </a:lnTo>
                <a:close/>
              </a:path>
              <a:path w="720725" h="70484">
                <a:moveTo>
                  <a:pt x="405003" y="20205"/>
                </a:moveTo>
                <a:lnTo>
                  <a:pt x="396544" y="20205"/>
                </a:lnTo>
                <a:lnTo>
                  <a:pt x="396544" y="68656"/>
                </a:lnTo>
                <a:lnTo>
                  <a:pt x="405003" y="68656"/>
                </a:lnTo>
                <a:lnTo>
                  <a:pt x="404878" y="49060"/>
                </a:lnTo>
                <a:lnTo>
                  <a:pt x="404609" y="46774"/>
                </a:lnTo>
                <a:lnTo>
                  <a:pt x="427291" y="46774"/>
                </a:lnTo>
                <a:lnTo>
                  <a:pt x="418731" y="43586"/>
                </a:lnTo>
                <a:lnTo>
                  <a:pt x="418731" y="43281"/>
                </a:lnTo>
                <a:lnTo>
                  <a:pt x="426626" y="40208"/>
                </a:lnTo>
                <a:lnTo>
                  <a:pt x="404507" y="40208"/>
                </a:lnTo>
                <a:lnTo>
                  <a:pt x="404783" y="38544"/>
                </a:lnTo>
                <a:lnTo>
                  <a:pt x="404903" y="37477"/>
                </a:lnTo>
                <a:lnTo>
                  <a:pt x="405003" y="20205"/>
                </a:lnTo>
                <a:close/>
              </a:path>
              <a:path w="720725" h="70484">
                <a:moveTo>
                  <a:pt x="427291" y="46774"/>
                </a:moveTo>
                <a:lnTo>
                  <a:pt x="413169" y="46774"/>
                </a:lnTo>
                <a:lnTo>
                  <a:pt x="414413" y="46951"/>
                </a:lnTo>
                <a:lnTo>
                  <a:pt x="416674" y="47675"/>
                </a:lnTo>
                <a:lnTo>
                  <a:pt x="429780" y="68656"/>
                </a:lnTo>
                <a:lnTo>
                  <a:pt x="438645" y="68656"/>
                </a:lnTo>
                <a:lnTo>
                  <a:pt x="428586" y="47993"/>
                </a:lnTo>
                <a:lnTo>
                  <a:pt x="427291" y="46774"/>
                </a:lnTo>
                <a:close/>
              </a:path>
              <a:path w="720725" h="70484">
                <a:moveTo>
                  <a:pt x="437248" y="20205"/>
                </a:moveTo>
                <a:lnTo>
                  <a:pt x="428485" y="20205"/>
                </a:lnTo>
                <a:lnTo>
                  <a:pt x="427088" y="24053"/>
                </a:lnTo>
                <a:lnTo>
                  <a:pt x="425970" y="26936"/>
                </a:lnTo>
                <a:lnTo>
                  <a:pt x="413588" y="40208"/>
                </a:lnTo>
                <a:lnTo>
                  <a:pt x="426626" y="40208"/>
                </a:lnTo>
                <a:lnTo>
                  <a:pt x="431330" y="34061"/>
                </a:lnTo>
                <a:lnTo>
                  <a:pt x="432663" y="31699"/>
                </a:lnTo>
                <a:lnTo>
                  <a:pt x="433209" y="30479"/>
                </a:lnTo>
                <a:lnTo>
                  <a:pt x="433920" y="28765"/>
                </a:lnTo>
                <a:lnTo>
                  <a:pt x="435864" y="23926"/>
                </a:lnTo>
                <a:lnTo>
                  <a:pt x="437248" y="20205"/>
                </a:lnTo>
                <a:close/>
              </a:path>
              <a:path w="720725" h="70484">
                <a:moveTo>
                  <a:pt x="310857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07" y="68656"/>
                </a:lnTo>
                <a:lnTo>
                  <a:pt x="308025" y="69062"/>
                </a:lnTo>
                <a:lnTo>
                  <a:pt x="314909" y="69265"/>
                </a:lnTo>
                <a:lnTo>
                  <a:pt x="330034" y="69265"/>
                </a:lnTo>
                <a:lnTo>
                  <a:pt x="334581" y="68186"/>
                </a:lnTo>
                <a:lnTo>
                  <a:pt x="339890" y="63868"/>
                </a:lnTo>
                <a:lnTo>
                  <a:pt x="340317" y="62598"/>
                </a:lnTo>
                <a:lnTo>
                  <a:pt x="322313" y="62598"/>
                </a:lnTo>
                <a:lnTo>
                  <a:pt x="310857" y="62496"/>
                </a:lnTo>
                <a:lnTo>
                  <a:pt x="310857" y="45275"/>
                </a:lnTo>
                <a:lnTo>
                  <a:pt x="340126" y="45275"/>
                </a:lnTo>
                <a:lnTo>
                  <a:pt x="339852" y="44488"/>
                </a:lnTo>
                <a:lnTo>
                  <a:pt x="334416" y="40106"/>
                </a:lnTo>
                <a:lnTo>
                  <a:pt x="329476" y="39001"/>
                </a:lnTo>
                <a:lnTo>
                  <a:pt x="310857" y="39001"/>
                </a:lnTo>
                <a:lnTo>
                  <a:pt x="310857" y="20205"/>
                </a:lnTo>
                <a:close/>
              </a:path>
              <a:path w="720725" h="70484">
                <a:moveTo>
                  <a:pt x="340126" y="45275"/>
                </a:moveTo>
                <a:lnTo>
                  <a:pt x="326288" y="45275"/>
                </a:lnTo>
                <a:lnTo>
                  <a:pt x="329006" y="45885"/>
                </a:lnTo>
                <a:lnTo>
                  <a:pt x="331927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01" y="59689"/>
                </a:lnTo>
                <a:lnTo>
                  <a:pt x="328930" y="62014"/>
                </a:lnTo>
                <a:lnTo>
                  <a:pt x="326224" y="62598"/>
                </a:lnTo>
                <a:lnTo>
                  <a:pt x="340317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2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50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50" y="27165"/>
                </a:lnTo>
                <a:lnTo>
                  <a:pt x="292150" y="20205"/>
                </a:lnTo>
                <a:close/>
              </a:path>
              <a:path w="720725" h="70484">
                <a:moveTo>
                  <a:pt x="237705" y="26174"/>
                </a:moveTo>
                <a:lnTo>
                  <a:pt x="224028" y="26174"/>
                </a:lnTo>
                <a:lnTo>
                  <a:pt x="226568" y="26796"/>
                </a:lnTo>
                <a:lnTo>
                  <a:pt x="229362" y="29324"/>
                </a:lnTo>
                <a:lnTo>
                  <a:pt x="230098" y="31483"/>
                </a:lnTo>
                <a:lnTo>
                  <a:pt x="230162" y="38811"/>
                </a:lnTo>
                <a:lnTo>
                  <a:pt x="205714" y="38811"/>
                </a:lnTo>
                <a:lnTo>
                  <a:pt x="202412" y="39852"/>
                </a:lnTo>
                <a:lnTo>
                  <a:pt x="197700" y="44030"/>
                </a:lnTo>
                <a:lnTo>
                  <a:pt x="196519" y="46964"/>
                </a:lnTo>
                <a:lnTo>
                  <a:pt x="196519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02" y="69557"/>
                </a:lnTo>
                <a:lnTo>
                  <a:pt x="214998" y="69557"/>
                </a:lnTo>
                <a:lnTo>
                  <a:pt x="218770" y="68681"/>
                </a:lnTo>
                <a:lnTo>
                  <a:pt x="225729" y="65163"/>
                </a:lnTo>
                <a:lnTo>
                  <a:pt x="228638" y="63093"/>
                </a:lnTo>
                <a:lnTo>
                  <a:pt x="229355" y="62356"/>
                </a:lnTo>
                <a:lnTo>
                  <a:pt x="215239" y="62356"/>
                </a:lnTo>
                <a:lnTo>
                  <a:pt x="212648" y="62293"/>
                </a:lnTo>
                <a:lnTo>
                  <a:pt x="210070" y="62293"/>
                </a:lnTo>
                <a:lnTo>
                  <a:pt x="208153" y="61709"/>
                </a:lnTo>
                <a:lnTo>
                  <a:pt x="205701" y="59385"/>
                </a:lnTo>
                <a:lnTo>
                  <a:pt x="205092" y="57543"/>
                </a:lnTo>
                <a:lnTo>
                  <a:pt x="205092" y="47701"/>
                </a:lnTo>
                <a:lnTo>
                  <a:pt x="207213" y="45478"/>
                </a:lnTo>
                <a:lnTo>
                  <a:pt x="211455" y="45275"/>
                </a:lnTo>
                <a:lnTo>
                  <a:pt x="238620" y="45275"/>
                </a:lnTo>
                <a:lnTo>
                  <a:pt x="238620" y="28892"/>
                </a:lnTo>
                <a:lnTo>
                  <a:pt x="237705" y="26174"/>
                </a:lnTo>
                <a:close/>
              </a:path>
              <a:path w="720725" h="70484">
                <a:moveTo>
                  <a:pt x="238620" y="60705"/>
                </a:moveTo>
                <a:lnTo>
                  <a:pt x="230962" y="60705"/>
                </a:lnTo>
                <a:lnTo>
                  <a:pt x="231952" y="68656"/>
                </a:lnTo>
                <a:lnTo>
                  <a:pt x="238620" y="68656"/>
                </a:lnTo>
                <a:lnTo>
                  <a:pt x="238620" y="60705"/>
                </a:lnTo>
                <a:close/>
              </a:path>
              <a:path w="720725" h="70484">
                <a:moveTo>
                  <a:pt x="238620" y="45275"/>
                </a:moveTo>
                <a:lnTo>
                  <a:pt x="230162" y="45275"/>
                </a:lnTo>
                <a:lnTo>
                  <a:pt x="230162" y="55029"/>
                </a:lnTo>
                <a:lnTo>
                  <a:pt x="227444" y="57416"/>
                </a:lnTo>
                <a:lnTo>
                  <a:pt x="224485" y="59245"/>
                </a:lnTo>
                <a:lnTo>
                  <a:pt x="218109" y="61760"/>
                </a:lnTo>
                <a:lnTo>
                  <a:pt x="215239" y="62356"/>
                </a:lnTo>
                <a:lnTo>
                  <a:pt x="229355" y="62356"/>
                </a:lnTo>
                <a:lnTo>
                  <a:pt x="230962" y="60705"/>
                </a:lnTo>
                <a:lnTo>
                  <a:pt x="238620" y="60705"/>
                </a:lnTo>
                <a:lnTo>
                  <a:pt x="238620" y="45275"/>
                </a:lnTo>
                <a:close/>
              </a:path>
              <a:path w="720725" h="70484">
                <a:moveTo>
                  <a:pt x="227736" y="19011"/>
                </a:moveTo>
                <a:lnTo>
                  <a:pt x="215468" y="19011"/>
                </a:lnTo>
                <a:lnTo>
                  <a:pt x="207632" y="19735"/>
                </a:lnTo>
                <a:lnTo>
                  <a:pt x="198615" y="21196"/>
                </a:lnTo>
                <a:lnTo>
                  <a:pt x="199415" y="27470"/>
                </a:lnTo>
                <a:lnTo>
                  <a:pt x="208635" y="26606"/>
                </a:lnTo>
                <a:lnTo>
                  <a:pt x="215595" y="26174"/>
                </a:lnTo>
                <a:lnTo>
                  <a:pt x="237705" y="26174"/>
                </a:lnTo>
                <a:lnTo>
                  <a:pt x="237274" y="24891"/>
                </a:lnTo>
                <a:lnTo>
                  <a:pt x="231902" y="20180"/>
                </a:lnTo>
                <a:lnTo>
                  <a:pt x="227736" y="19011"/>
                </a:lnTo>
                <a:close/>
              </a:path>
              <a:path w="720725" h="70484">
                <a:moveTo>
                  <a:pt x="139369" y="20205"/>
                </a:moveTo>
                <a:lnTo>
                  <a:pt x="126771" y="20205"/>
                </a:lnTo>
                <a:lnTo>
                  <a:pt x="125679" y="21259"/>
                </a:lnTo>
                <a:lnTo>
                  <a:pt x="125679" y="23380"/>
                </a:lnTo>
                <a:lnTo>
                  <a:pt x="123685" y="68656"/>
                </a:lnTo>
                <a:lnTo>
                  <a:pt x="131445" y="68656"/>
                </a:lnTo>
                <a:lnTo>
                  <a:pt x="133248" y="26669"/>
                </a:lnTo>
                <a:lnTo>
                  <a:pt x="142323" y="26669"/>
                </a:lnTo>
                <a:lnTo>
                  <a:pt x="140995" y="22986"/>
                </a:lnTo>
                <a:lnTo>
                  <a:pt x="140474" y="21132"/>
                </a:lnTo>
                <a:lnTo>
                  <a:pt x="139369" y="20205"/>
                </a:lnTo>
                <a:close/>
              </a:path>
              <a:path w="720725" h="70484">
                <a:moveTo>
                  <a:pt x="182448" y="26669"/>
                </a:moveTo>
                <a:lnTo>
                  <a:pt x="174637" y="26669"/>
                </a:lnTo>
                <a:lnTo>
                  <a:pt x="176530" y="68656"/>
                </a:lnTo>
                <a:lnTo>
                  <a:pt x="184391" y="68656"/>
                </a:lnTo>
                <a:lnTo>
                  <a:pt x="182448" y="26669"/>
                </a:lnTo>
                <a:close/>
              </a:path>
              <a:path w="720725" h="70484">
                <a:moveTo>
                  <a:pt x="142323" y="26669"/>
                </a:moveTo>
                <a:lnTo>
                  <a:pt x="134937" y="26669"/>
                </a:lnTo>
                <a:lnTo>
                  <a:pt x="147269" y="60604"/>
                </a:lnTo>
                <a:lnTo>
                  <a:pt x="147866" y="62458"/>
                </a:lnTo>
                <a:lnTo>
                  <a:pt x="148996" y="63385"/>
                </a:lnTo>
                <a:lnTo>
                  <a:pt x="158877" y="63385"/>
                </a:lnTo>
                <a:lnTo>
                  <a:pt x="160007" y="62458"/>
                </a:lnTo>
                <a:lnTo>
                  <a:pt x="160604" y="60604"/>
                </a:lnTo>
                <a:lnTo>
                  <a:pt x="161620" y="57810"/>
                </a:lnTo>
                <a:lnTo>
                  <a:pt x="153136" y="57810"/>
                </a:lnTo>
                <a:lnTo>
                  <a:pt x="152412" y="55029"/>
                </a:lnTo>
                <a:lnTo>
                  <a:pt x="151714" y="52704"/>
                </a:lnTo>
                <a:lnTo>
                  <a:pt x="142323" y="26669"/>
                </a:lnTo>
                <a:close/>
              </a:path>
              <a:path w="720725" h="70484">
                <a:moveTo>
                  <a:pt x="181229" y="20205"/>
                </a:moveTo>
                <a:lnTo>
                  <a:pt x="168605" y="20205"/>
                </a:lnTo>
                <a:lnTo>
                  <a:pt x="167474" y="21132"/>
                </a:lnTo>
                <a:lnTo>
                  <a:pt x="166865" y="22986"/>
                </a:lnTo>
                <a:lnTo>
                  <a:pt x="156819" y="50850"/>
                </a:lnTo>
                <a:lnTo>
                  <a:pt x="156362" y="52247"/>
                </a:lnTo>
                <a:lnTo>
                  <a:pt x="155651" y="54559"/>
                </a:lnTo>
                <a:lnTo>
                  <a:pt x="154736" y="57810"/>
                </a:lnTo>
                <a:lnTo>
                  <a:pt x="161620" y="57810"/>
                </a:lnTo>
                <a:lnTo>
                  <a:pt x="172948" y="26669"/>
                </a:lnTo>
                <a:lnTo>
                  <a:pt x="182448" y="26669"/>
                </a:lnTo>
                <a:lnTo>
                  <a:pt x="182295" y="23380"/>
                </a:lnTo>
                <a:lnTo>
                  <a:pt x="182295" y="21259"/>
                </a:lnTo>
                <a:lnTo>
                  <a:pt x="181229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77" y="20205"/>
                </a:lnTo>
                <a:lnTo>
                  <a:pt x="81292" y="21132"/>
                </a:lnTo>
                <a:lnTo>
                  <a:pt x="77304" y="24841"/>
                </a:lnTo>
                <a:lnTo>
                  <a:pt x="76085" y="27698"/>
                </a:lnTo>
                <a:lnTo>
                  <a:pt x="75628" y="31546"/>
                </a:lnTo>
                <a:lnTo>
                  <a:pt x="74358" y="43751"/>
                </a:lnTo>
                <a:lnTo>
                  <a:pt x="72936" y="51879"/>
                </a:lnTo>
                <a:lnTo>
                  <a:pt x="62788" y="62699"/>
                </a:lnTo>
                <a:lnTo>
                  <a:pt x="63677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09" y="27317"/>
                </a:lnTo>
                <a:lnTo>
                  <a:pt x="87795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83" y="0"/>
                </a:lnTo>
                <a:lnTo>
                  <a:pt x="22479" y="800"/>
                </a:lnTo>
                <a:lnTo>
                  <a:pt x="22085" y="2387"/>
                </a:lnTo>
                <a:lnTo>
                  <a:pt x="0" y="68656"/>
                </a:lnTo>
                <a:lnTo>
                  <a:pt x="9042" y="68656"/>
                </a:lnTo>
                <a:lnTo>
                  <a:pt x="15824" y="47167"/>
                </a:lnTo>
                <a:lnTo>
                  <a:pt x="52731" y="47167"/>
                </a:lnTo>
                <a:lnTo>
                  <a:pt x="50213" y="39611"/>
                </a:lnTo>
                <a:lnTo>
                  <a:pt x="18199" y="39611"/>
                </a:lnTo>
                <a:lnTo>
                  <a:pt x="26860" y="12344"/>
                </a:lnTo>
                <a:lnTo>
                  <a:pt x="28562" y="6769"/>
                </a:lnTo>
                <a:lnTo>
                  <a:pt x="39268" y="6769"/>
                </a:lnTo>
                <a:lnTo>
                  <a:pt x="37807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31" y="47167"/>
                </a:moveTo>
                <a:lnTo>
                  <a:pt x="44069" y="47167"/>
                </a:lnTo>
                <a:lnTo>
                  <a:pt x="50850" y="68656"/>
                </a:lnTo>
                <a:lnTo>
                  <a:pt x="59893" y="68656"/>
                </a:lnTo>
                <a:lnTo>
                  <a:pt x="52731" y="47167"/>
                </a:lnTo>
                <a:close/>
              </a:path>
              <a:path w="720725" h="70484">
                <a:moveTo>
                  <a:pt x="39268" y="6769"/>
                </a:moveTo>
                <a:lnTo>
                  <a:pt x="31330" y="6769"/>
                </a:lnTo>
                <a:lnTo>
                  <a:pt x="31864" y="8762"/>
                </a:lnTo>
                <a:lnTo>
                  <a:pt x="32435" y="10617"/>
                </a:lnTo>
                <a:lnTo>
                  <a:pt x="33032" y="12344"/>
                </a:lnTo>
                <a:lnTo>
                  <a:pt x="41694" y="39611"/>
                </a:lnTo>
                <a:lnTo>
                  <a:pt x="50213" y="39611"/>
                </a:lnTo>
                <a:lnTo>
                  <a:pt x="39268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78858" y="624441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14" y="20802"/>
                </a:lnTo>
                <a:lnTo>
                  <a:pt x="507314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6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8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74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8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62" y="51193"/>
                </a:lnTo>
                <a:lnTo>
                  <a:pt x="537362" y="57950"/>
                </a:lnTo>
                <a:lnTo>
                  <a:pt x="536600" y="60286"/>
                </a:lnTo>
                <a:lnTo>
                  <a:pt x="533628" y="62611"/>
                </a:lnTo>
                <a:lnTo>
                  <a:pt x="530923" y="63195"/>
                </a:lnTo>
                <a:lnTo>
                  <a:pt x="545016" y="63195"/>
                </a:lnTo>
                <a:lnTo>
                  <a:pt x="545922" y="60502"/>
                </a:lnTo>
                <a:lnTo>
                  <a:pt x="545891" y="48945"/>
                </a:lnTo>
                <a:lnTo>
                  <a:pt x="544828" y="45885"/>
                </a:lnTo>
                <a:close/>
              </a:path>
              <a:path w="563880" h="89534">
                <a:moveTo>
                  <a:pt x="563333" y="20802"/>
                </a:moveTo>
                <a:lnTo>
                  <a:pt x="554774" y="20802"/>
                </a:lnTo>
                <a:lnTo>
                  <a:pt x="554774" y="69265"/>
                </a:lnTo>
                <a:lnTo>
                  <a:pt x="563333" y="69265"/>
                </a:lnTo>
                <a:lnTo>
                  <a:pt x="563333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87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1238" y="6473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55" y="69634"/>
                </a:lnTo>
                <a:lnTo>
                  <a:pt x="495566" y="67970"/>
                </a:lnTo>
                <a:lnTo>
                  <a:pt x="494906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64" y="33235"/>
                </a:lnTo>
                <a:lnTo>
                  <a:pt x="470636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6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2003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301" y="68973"/>
                </a:lnTo>
                <a:lnTo>
                  <a:pt x="410806" y="70154"/>
                </a:lnTo>
                <a:lnTo>
                  <a:pt x="419303" y="70154"/>
                </a:lnTo>
                <a:lnTo>
                  <a:pt x="423100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57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59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2003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57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90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41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20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2003" y="26771"/>
                </a:lnTo>
                <a:lnTo>
                  <a:pt x="441578" y="25501"/>
                </a:lnTo>
                <a:lnTo>
                  <a:pt x="436206" y="20777"/>
                </a:lnTo>
                <a:lnTo>
                  <a:pt x="432041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76" y="20802"/>
                </a:lnTo>
                <a:lnTo>
                  <a:pt x="329984" y="21856"/>
                </a:lnTo>
                <a:lnTo>
                  <a:pt x="329984" y="23977"/>
                </a:lnTo>
                <a:lnTo>
                  <a:pt x="327977" y="69265"/>
                </a:lnTo>
                <a:lnTo>
                  <a:pt x="335749" y="69265"/>
                </a:lnTo>
                <a:lnTo>
                  <a:pt x="337527" y="27266"/>
                </a:lnTo>
                <a:lnTo>
                  <a:pt x="346629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51" y="27266"/>
                </a:moveTo>
                <a:lnTo>
                  <a:pt x="378929" y="27266"/>
                </a:lnTo>
                <a:lnTo>
                  <a:pt x="380834" y="69265"/>
                </a:lnTo>
                <a:lnTo>
                  <a:pt x="388683" y="69265"/>
                </a:lnTo>
                <a:lnTo>
                  <a:pt x="386751" y="27266"/>
                </a:lnTo>
                <a:close/>
              </a:path>
              <a:path w="563880" h="89534">
                <a:moveTo>
                  <a:pt x="346629" y="27266"/>
                </a:moveTo>
                <a:lnTo>
                  <a:pt x="339229" y="27266"/>
                </a:lnTo>
                <a:lnTo>
                  <a:pt x="351574" y="61201"/>
                </a:lnTo>
                <a:lnTo>
                  <a:pt x="352170" y="63068"/>
                </a:lnTo>
                <a:lnTo>
                  <a:pt x="353301" y="63982"/>
                </a:lnTo>
                <a:lnTo>
                  <a:pt x="363181" y="63982"/>
                </a:lnTo>
                <a:lnTo>
                  <a:pt x="364312" y="63068"/>
                </a:lnTo>
                <a:lnTo>
                  <a:pt x="364909" y="61201"/>
                </a:lnTo>
                <a:lnTo>
                  <a:pt x="365919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55358" y="51447"/>
                </a:lnTo>
                <a:lnTo>
                  <a:pt x="346629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24" y="51447"/>
                </a:lnTo>
                <a:lnTo>
                  <a:pt x="360667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19" y="58420"/>
                </a:lnTo>
                <a:lnTo>
                  <a:pt x="377240" y="27266"/>
                </a:lnTo>
                <a:lnTo>
                  <a:pt x="386751" y="27266"/>
                </a:lnTo>
                <a:lnTo>
                  <a:pt x="386600" y="23977"/>
                </a:lnTo>
                <a:lnTo>
                  <a:pt x="386600" y="21856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34" y="65481"/>
                </a:lnTo>
                <a:lnTo>
                  <a:pt x="310500" y="65481"/>
                </a:lnTo>
                <a:lnTo>
                  <a:pt x="312323" y="63093"/>
                </a:lnTo>
                <a:lnTo>
                  <a:pt x="291376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67" y="29464"/>
                </a:lnTo>
                <a:lnTo>
                  <a:pt x="288068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500" y="65481"/>
                </a:moveTo>
                <a:lnTo>
                  <a:pt x="279234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52" y="68554"/>
                </a:lnTo>
                <a:lnTo>
                  <a:pt x="310500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97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23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71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8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71" y="19608"/>
                </a:lnTo>
                <a:close/>
              </a:path>
              <a:path w="563880" h="89534">
                <a:moveTo>
                  <a:pt x="254627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91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43" y="39408"/>
                </a:lnTo>
                <a:lnTo>
                  <a:pt x="219341" y="40449"/>
                </a:lnTo>
                <a:lnTo>
                  <a:pt x="214629" y="44627"/>
                </a:lnTo>
                <a:lnTo>
                  <a:pt x="213448" y="47574"/>
                </a:lnTo>
                <a:lnTo>
                  <a:pt x="213448" y="60934"/>
                </a:lnTo>
                <a:lnTo>
                  <a:pt x="214731" y="64274"/>
                </a:lnTo>
                <a:lnTo>
                  <a:pt x="219925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58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84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27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65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44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24" y="26771"/>
                </a:lnTo>
                <a:lnTo>
                  <a:pt x="254627" y="26771"/>
                </a:lnTo>
                <a:lnTo>
                  <a:pt x="254203" y="25501"/>
                </a:lnTo>
                <a:lnTo>
                  <a:pt x="248818" y="20777"/>
                </a:lnTo>
                <a:lnTo>
                  <a:pt x="244665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64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6" y="40805"/>
                </a:lnTo>
                <a:lnTo>
                  <a:pt x="170662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41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403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55" y="40805"/>
                </a:lnTo>
                <a:lnTo>
                  <a:pt x="192786" y="40805"/>
                </a:lnTo>
                <a:lnTo>
                  <a:pt x="193852" y="39789"/>
                </a:lnTo>
                <a:lnTo>
                  <a:pt x="195579" y="38087"/>
                </a:lnTo>
                <a:lnTo>
                  <a:pt x="196176" y="37185"/>
                </a:lnTo>
                <a:lnTo>
                  <a:pt x="196824" y="35928"/>
                </a:lnTo>
                <a:lnTo>
                  <a:pt x="198018" y="33693"/>
                </a:lnTo>
                <a:lnTo>
                  <a:pt x="198831" y="32296"/>
                </a:lnTo>
                <a:lnTo>
                  <a:pt x="199377" y="31076"/>
                </a:lnTo>
                <a:lnTo>
                  <a:pt x="201650" y="25425"/>
                </a:lnTo>
                <a:lnTo>
                  <a:pt x="202031" y="24536"/>
                </a:lnTo>
                <a:lnTo>
                  <a:pt x="203403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53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90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90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71" y="27368"/>
                </a:lnTo>
                <a:lnTo>
                  <a:pt x="149090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65" y="29921"/>
                </a:lnTo>
                <a:lnTo>
                  <a:pt x="89801" y="32080"/>
                </a:lnTo>
                <a:lnTo>
                  <a:pt x="89852" y="39408"/>
                </a:lnTo>
                <a:lnTo>
                  <a:pt x="65417" y="39408"/>
                </a:lnTo>
                <a:lnTo>
                  <a:pt x="62115" y="40449"/>
                </a:lnTo>
                <a:lnTo>
                  <a:pt x="57403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32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51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47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18" y="28067"/>
                </a:lnTo>
                <a:lnTo>
                  <a:pt x="68325" y="27203"/>
                </a:lnTo>
                <a:lnTo>
                  <a:pt x="75298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203" y="69265"/>
                </a:lnTo>
                <a:lnTo>
                  <a:pt x="6756" y="69862"/>
                </a:lnTo>
                <a:lnTo>
                  <a:pt x="13970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77" y="62560"/>
                </a:lnTo>
                <a:lnTo>
                  <a:pt x="8762" y="62496"/>
                </a:lnTo>
                <a:lnTo>
                  <a:pt x="8762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62" y="30149"/>
                </a:lnTo>
                <a:lnTo>
                  <a:pt x="8762" y="7861"/>
                </a:lnTo>
                <a:lnTo>
                  <a:pt x="41389" y="7861"/>
                </a:lnTo>
                <a:lnTo>
                  <a:pt x="42202" y="596"/>
                </a:lnTo>
                <a:lnTo>
                  <a:pt x="35229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61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61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977531" y="459328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52" y="103365"/>
                </a:lnTo>
                <a:lnTo>
                  <a:pt x="984504" y="105181"/>
                </a:lnTo>
                <a:lnTo>
                  <a:pt x="992517" y="105181"/>
                </a:lnTo>
                <a:lnTo>
                  <a:pt x="990206" y="110883"/>
                </a:lnTo>
                <a:lnTo>
                  <a:pt x="987107" y="114896"/>
                </a:lnTo>
                <a:lnTo>
                  <a:pt x="983195" y="117195"/>
                </a:lnTo>
                <a:lnTo>
                  <a:pt x="979398" y="119494"/>
                </a:lnTo>
                <a:lnTo>
                  <a:pt x="972934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40" y="127550"/>
                </a:lnTo>
                <a:lnTo>
                  <a:pt x="1004644" y="121813"/>
                </a:lnTo>
                <a:lnTo>
                  <a:pt x="1005484" y="120497"/>
                </a:lnTo>
                <a:lnTo>
                  <a:pt x="972934" y="120497"/>
                </a:lnTo>
                <a:lnTo>
                  <a:pt x="963815" y="120205"/>
                </a:lnTo>
                <a:lnTo>
                  <a:pt x="1005670" y="120205"/>
                </a:lnTo>
                <a:lnTo>
                  <a:pt x="1009179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21" y="90144"/>
                </a:lnTo>
                <a:lnTo>
                  <a:pt x="996327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34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60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712" y="133718"/>
                </a:lnTo>
                <a:lnTo>
                  <a:pt x="897712" y="115836"/>
                </a:lnTo>
                <a:lnTo>
                  <a:pt x="897691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712" y="87591"/>
                </a:lnTo>
                <a:lnTo>
                  <a:pt x="897712" y="53644"/>
                </a:lnTo>
                <a:lnTo>
                  <a:pt x="904913" y="48933"/>
                </a:lnTo>
                <a:lnTo>
                  <a:pt x="911034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60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4" y="103068"/>
                </a:lnTo>
                <a:lnTo>
                  <a:pt x="908335" y="105322"/>
                </a:lnTo>
                <a:lnTo>
                  <a:pt x="914864" y="106674"/>
                </a:lnTo>
                <a:lnTo>
                  <a:pt x="922045" y="107124"/>
                </a:lnTo>
                <a:lnTo>
                  <a:pt x="931773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612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93" y="105181"/>
                </a:lnTo>
                <a:lnTo>
                  <a:pt x="766213" y="105572"/>
                </a:lnTo>
                <a:lnTo>
                  <a:pt x="774511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64" y="106070"/>
                </a:lnTo>
                <a:lnTo>
                  <a:pt x="813473" y="104305"/>
                </a:lnTo>
                <a:lnTo>
                  <a:pt x="822693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8" y="70777"/>
                </a:lnTo>
                <a:lnTo>
                  <a:pt x="822591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8" y="70777"/>
                </a:moveTo>
                <a:lnTo>
                  <a:pt x="795642" y="70777"/>
                </a:lnTo>
                <a:lnTo>
                  <a:pt x="798728" y="71424"/>
                </a:lnTo>
                <a:lnTo>
                  <a:pt x="801827" y="74028"/>
                </a:lnTo>
                <a:lnTo>
                  <a:pt x="802614" y="76631"/>
                </a:lnTo>
                <a:lnTo>
                  <a:pt x="802614" y="84645"/>
                </a:lnTo>
                <a:lnTo>
                  <a:pt x="801827" y="87325"/>
                </a:lnTo>
                <a:lnTo>
                  <a:pt x="798728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8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50" y="126352"/>
                </a:lnTo>
                <a:lnTo>
                  <a:pt x="673849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80" y="70734"/>
                </a:lnTo>
                <a:lnTo>
                  <a:pt x="670138" y="80381"/>
                </a:lnTo>
                <a:lnTo>
                  <a:pt x="667092" y="89255"/>
                </a:lnTo>
                <a:lnTo>
                  <a:pt x="686625" y="89255"/>
                </a:lnTo>
                <a:lnTo>
                  <a:pt x="696290" y="48488"/>
                </a:lnTo>
                <a:lnTo>
                  <a:pt x="698792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41" y="31102"/>
                </a:lnTo>
                <a:lnTo>
                  <a:pt x="573341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34" y="106984"/>
                </a:lnTo>
                <a:lnTo>
                  <a:pt x="515690" y="106166"/>
                </a:lnTo>
                <a:lnTo>
                  <a:pt x="522892" y="103711"/>
                </a:lnTo>
                <a:lnTo>
                  <a:pt x="529439" y="99623"/>
                </a:lnTo>
                <a:lnTo>
                  <a:pt x="535330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30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15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68" y="28994"/>
                </a:lnTo>
                <a:lnTo>
                  <a:pt x="516527" y="29220"/>
                </a:lnTo>
                <a:lnTo>
                  <a:pt x="506999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56" y="47637"/>
                </a:lnTo>
                <a:lnTo>
                  <a:pt x="498570" y="47104"/>
                </a:lnTo>
                <a:lnTo>
                  <a:pt x="506815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80" y="39141"/>
                </a:lnTo>
                <a:lnTo>
                  <a:pt x="543267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6" y="82222"/>
                </a:lnTo>
                <a:lnTo>
                  <a:pt x="428955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63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52" y="133718"/>
                </a:lnTo>
                <a:lnTo>
                  <a:pt x="331152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30" y="99910"/>
                </a:lnTo>
                <a:lnTo>
                  <a:pt x="376961" y="98640"/>
                </a:lnTo>
                <a:lnTo>
                  <a:pt x="379987" y="93590"/>
                </a:lnTo>
                <a:lnTo>
                  <a:pt x="380959" y="90601"/>
                </a:lnTo>
                <a:lnTo>
                  <a:pt x="344563" y="90601"/>
                </a:lnTo>
                <a:lnTo>
                  <a:pt x="338963" y="89598"/>
                </a:lnTo>
                <a:lnTo>
                  <a:pt x="331152" y="87591"/>
                </a:lnTo>
                <a:lnTo>
                  <a:pt x="331152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75" y="46583"/>
                </a:lnTo>
                <a:lnTo>
                  <a:pt x="378562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30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64" y="104305"/>
                </a:lnTo>
                <a:lnTo>
                  <a:pt x="375930" y="99910"/>
                </a:lnTo>
                <a:close/>
              </a:path>
              <a:path w="1039494" h="136525">
                <a:moveTo>
                  <a:pt x="380375" y="46583"/>
                </a:moveTo>
                <a:lnTo>
                  <a:pt x="353783" y="46583"/>
                </a:lnTo>
                <a:lnTo>
                  <a:pt x="356781" y="48107"/>
                </a:lnTo>
                <a:lnTo>
                  <a:pt x="360197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21" y="83591"/>
                </a:lnTo>
                <a:lnTo>
                  <a:pt x="356412" y="89204"/>
                </a:lnTo>
                <a:lnTo>
                  <a:pt x="352971" y="90601"/>
                </a:lnTo>
                <a:lnTo>
                  <a:pt x="380959" y="90601"/>
                </a:lnTo>
                <a:lnTo>
                  <a:pt x="382150" y="86936"/>
                </a:lnTo>
                <a:lnTo>
                  <a:pt x="383449" y="78679"/>
                </a:lnTo>
                <a:lnTo>
                  <a:pt x="383882" y="68821"/>
                </a:lnTo>
                <a:lnTo>
                  <a:pt x="382275" y="51469"/>
                </a:lnTo>
                <a:lnTo>
                  <a:pt x="380375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52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62" y="41922"/>
                </a:lnTo>
                <a:lnTo>
                  <a:pt x="377455" y="39074"/>
                </a:lnTo>
                <a:lnTo>
                  <a:pt x="369422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26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26" y="133718"/>
                </a:lnTo>
                <a:lnTo>
                  <a:pt x="253326" y="106680"/>
                </a:lnTo>
                <a:lnTo>
                  <a:pt x="263363" y="105467"/>
                </a:lnTo>
                <a:lnTo>
                  <a:pt x="288522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14" y="45377"/>
                </a:lnTo>
                <a:lnTo>
                  <a:pt x="288236" y="44980"/>
                </a:lnTo>
                <a:lnTo>
                  <a:pt x="253326" y="29298"/>
                </a:lnTo>
                <a:lnTo>
                  <a:pt x="253326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14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27" y="54686"/>
                </a:lnTo>
                <a:lnTo>
                  <a:pt x="272249" y="60299"/>
                </a:lnTo>
                <a:lnTo>
                  <a:pt x="272249" y="76034"/>
                </a:lnTo>
                <a:lnTo>
                  <a:pt x="270827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22" y="90601"/>
                </a:lnTo>
                <a:lnTo>
                  <a:pt x="291125" y="84855"/>
                </a:lnTo>
                <a:lnTo>
                  <a:pt x="292856" y="77182"/>
                </a:lnTo>
                <a:lnTo>
                  <a:pt x="293433" y="68211"/>
                </a:lnTo>
                <a:lnTo>
                  <a:pt x="292856" y="59172"/>
                </a:lnTo>
                <a:lnTo>
                  <a:pt x="291125" y="51428"/>
                </a:lnTo>
                <a:lnTo>
                  <a:pt x="288414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38" y="31102"/>
                </a:lnTo>
                <a:lnTo>
                  <a:pt x="105638" y="105181"/>
                </a:lnTo>
                <a:lnTo>
                  <a:pt x="124561" y="105181"/>
                </a:lnTo>
                <a:lnTo>
                  <a:pt x="141243" y="81584"/>
                </a:lnTo>
                <a:lnTo>
                  <a:pt x="124561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43" y="81584"/>
                </a:lnTo>
                <a:lnTo>
                  <a:pt x="155105" y="61950"/>
                </a:lnTo>
                <a:lnTo>
                  <a:pt x="156972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403" y="1498"/>
                </a:lnTo>
                <a:lnTo>
                  <a:pt x="57403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11653189" y="35100"/>
            <a:ext cx="170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>
                <a:solidFill>
                  <a:srgbClr val="FFFFFF"/>
                </a:solidFill>
                <a:latin typeface="KZ_Exo 2 Medium Condensed"/>
                <a:cs typeface="KZ_Exo 2 Medium Condensed"/>
              </a:rPr>
              <a:t>3</a:t>
            </a:r>
            <a:endParaRPr sz="1200" dirty="0">
              <a:latin typeface="KZ_Exo 2 Medium Condensed"/>
              <a:cs typeface="KZ_Exo 2 Medium Condensed"/>
            </a:endParaRPr>
          </a:p>
        </p:txBody>
      </p:sp>
      <p:sp>
        <p:nvSpPr>
          <p:cNvPr id="22" name="object 6">
            <a:extLst>
              <a:ext uri="{FF2B5EF4-FFF2-40B4-BE49-F238E27FC236}">
                <a16:creationId xmlns:a16="http://schemas.microsoft.com/office/drawing/2014/main" id="{B225A3E1-6899-4B5E-97CF-8A665391DD90}"/>
              </a:ext>
            </a:extLst>
          </p:cNvPr>
          <p:cNvSpPr txBox="1">
            <a:spLocks/>
          </p:cNvSpPr>
          <p:nvPr/>
        </p:nvSpPr>
        <p:spPr>
          <a:xfrm>
            <a:off x="3004114" y="264715"/>
            <a:ext cx="8991598" cy="628377"/>
          </a:xfrm>
          <a:prstGeom prst="rect">
            <a:avLst/>
          </a:prstGeom>
        </p:spPr>
        <p:txBody>
          <a:bodyPr vert="horz" wrap="square" lIns="0" tIns="12700" rIns="0" bIns="0" rtlCol="0" anchor="ctr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/>
            <a:r>
              <a:rPr lang="ru-RU" kern="0" spc="50" dirty="0" err="1">
                <a:latin typeface="Century Gothic" panose="020B0502020202020204" pitchFamily="34" charset="0"/>
              </a:rPr>
              <a:t>Ішкі</a:t>
            </a:r>
            <a:r>
              <a:rPr lang="ru-RU" kern="0" spc="50" dirty="0">
                <a:latin typeface="Century Gothic" panose="020B0502020202020204" pitchFamily="34" charset="0"/>
              </a:rPr>
              <a:t> </a:t>
            </a:r>
            <a:r>
              <a:rPr lang="ru-RU" kern="0" spc="50" dirty="0" err="1">
                <a:latin typeface="Century Gothic" panose="020B0502020202020204" pitchFamily="34" charset="0"/>
              </a:rPr>
              <a:t>бақылау</a:t>
            </a:r>
            <a:r>
              <a:rPr lang="ru-RU" kern="0" spc="50" dirty="0">
                <a:latin typeface="Century Gothic" panose="020B0502020202020204" pitchFamily="34" charset="0"/>
              </a:rPr>
              <a:t> </a:t>
            </a:r>
            <a:r>
              <a:rPr lang="ru-RU" kern="0" spc="50" dirty="0" err="1">
                <a:latin typeface="Century Gothic" panose="020B0502020202020204" pitchFamily="34" charset="0"/>
              </a:rPr>
              <a:t>қорытындысы</a:t>
            </a:r>
            <a:r>
              <a:rPr lang="ru-RU" kern="0" spc="50" dirty="0">
                <a:latin typeface="Century Gothic" panose="020B0502020202020204" pitchFamily="34" charset="0"/>
              </a:rPr>
              <a:t> </a:t>
            </a:r>
            <a:r>
              <a:rPr lang="ru-RU" kern="0" spc="50" dirty="0" err="1">
                <a:latin typeface="Century Gothic" panose="020B0502020202020204" pitchFamily="34" charset="0"/>
              </a:rPr>
              <a:t>бойынша</a:t>
            </a:r>
            <a:r>
              <a:rPr lang="ru-RU" kern="0" spc="50" dirty="0">
                <a:latin typeface="Century Gothic" panose="020B0502020202020204" pitchFamily="34" charset="0"/>
              </a:rPr>
              <a:t> </a:t>
            </a:r>
            <a:r>
              <a:rPr lang="ru-RU" kern="0" spc="50" dirty="0" err="1">
                <a:latin typeface="Century Gothic" panose="020B0502020202020204" pitchFamily="34" charset="0"/>
              </a:rPr>
              <a:t>Мемлекеттік</a:t>
            </a:r>
            <a:r>
              <a:rPr lang="ru-RU" kern="0" spc="50" dirty="0">
                <a:latin typeface="Century Gothic" panose="020B0502020202020204" pitchFamily="34" charset="0"/>
              </a:rPr>
              <a:t> </a:t>
            </a:r>
            <a:r>
              <a:rPr lang="ru-RU" kern="0" spc="50" dirty="0" err="1">
                <a:latin typeface="Century Gothic" panose="020B0502020202020204" pitchFamily="34" charset="0"/>
              </a:rPr>
              <a:t>қызметтерді</a:t>
            </a:r>
            <a:r>
              <a:rPr lang="ru-RU" kern="0" spc="50" dirty="0">
                <a:latin typeface="Century Gothic" panose="020B0502020202020204" pitchFamily="34" charset="0"/>
              </a:rPr>
              <a:t> </a:t>
            </a:r>
            <a:r>
              <a:rPr lang="ru-RU" kern="0" spc="50" dirty="0" err="1">
                <a:latin typeface="Century Gothic" panose="020B0502020202020204" pitchFamily="34" charset="0"/>
              </a:rPr>
              <a:t>бұзу</a:t>
            </a:r>
            <a:r>
              <a:rPr lang="ru-RU" kern="0" spc="50" dirty="0">
                <a:latin typeface="Century Gothic" panose="020B0502020202020204" pitchFamily="34" charset="0"/>
              </a:rPr>
              <a:t> саны</a:t>
            </a:r>
          </a:p>
        </p:txBody>
      </p:sp>
      <p:sp>
        <p:nvSpPr>
          <p:cNvPr id="43" name="object 6">
            <a:extLst>
              <a:ext uri="{FF2B5EF4-FFF2-40B4-BE49-F238E27FC236}">
                <a16:creationId xmlns:a16="http://schemas.microsoft.com/office/drawing/2014/main" id="{D31868EA-8434-405B-82DF-3D179200B002}"/>
              </a:ext>
            </a:extLst>
          </p:cNvPr>
          <p:cNvSpPr txBox="1">
            <a:spLocks/>
          </p:cNvSpPr>
          <p:nvPr/>
        </p:nvSpPr>
        <p:spPr>
          <a:xfrm>
            <a:off x="339180" y="1236526"/>
            <a:ext cx="5619466" cy="370614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lvl="0"/>
            <a:r>
              <a:rPr lang="ru-RU" sz="1600" dirty="0" err="1">
                <a:latin typeface="Century Gothic" panose="020B0502020202020204" pitchFamily="34" charset="0"/>
              </a:rPr>
              <a:t>Бұзушылықтар</a:t>
            </a:r>
            <a:r>
              <a:rPr lang="ru-RU" sz="1600" dirty="0">
                <a:latin typeface="Century Gothic" panose="020B0502020202020204" pitchFamily="34" charset="0"/>
              </a:rPr>
              <a:t> саны-341, </a:t>
            </a:r>
            <a:r>
              <a:rPr lang="ru-RU" sz="1600" dirty="0" err="1">
                <a:latin typeface="Century Gothic" panose="020B0502020202020204" pitchFamily="34" charset="0"/>
              </a:rPr>
              <a:t>оның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ішінде</a:t>
            </a:r>
            <a:r>
              <a:rPr lang="ru-RU" sz="1600" dirty="0">
                <a:latin typeface="Century Gothic" panose="020B0502020202020204" pitchFamily="34" charset="0"/>
              </a:rPr>
              <a:t>:</a:t>
            </a:r>
          </a:p>
          <a:p>
            <a:pPr lvl="0"/>
            <a:endParaRPr lang="ru-RU" sz="1400" b="0" dirty="0">
              <a:latin typeface="Century Gothic" panose="020B0502020202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мерзімдері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бұз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br>
              <a:rPr lang="ru-RU" sz="1400" b="0" dirty="0">
                <a:latin typeface="Century Gothic" panose="020B0502020202020204" pitchFamily="34" charset="0"/>
              </a:rPr>
            </a:br>
            <a:r>
              <a:rPr lang="ru-RU" sz="1400" dirty="0">
                <a:latin typeface="Century Gothic" panose="020B0502020202020204" pitchFamily="34" charset="0"/>
              </a:rPr>
              <a:t>- 223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уден</a:t>
            </a:r>
            <a:r>
              <a:rPr lang="ru-RU" sz="1400" b="0" dirty="0">
                <a:latin typeface="Century Gothic" panose="020B0502020202020204" pitchFamily="34" charset="0"/>
              </a:rPr>
              <a:t> бас </a:t>
            </a:r>
            <a:r>
              <a:rPr lang="ru-RU" sz="1400" b="0" dirty="0" err="1">
                <a:latin typeface="Century Gothic" panose="020B0502020202020204" pitchFamily="34" charset="0"/>
              </a:rPr>
              <a:t>тар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мерзімдері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бұз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42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бекітілге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ілеті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стандартында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зделге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ұжаттардың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толық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топтамасы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болмаға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езде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тер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26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тер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рәсімдерін</a:t>
            </a:r>
            <a:r>
              <a:rPr lang="ru-RU" sz="1400" b="0" dirty="0">
                <a:latin typeface="Century Gothic" panose="020B0502020202020204" pitchFamily="34" charset="0"/>
              </a:rPr>
              <a:t> (бизнес-</a:t>
            </a:r>
            <a:r>
              <a:rPr lang="ru-RU" sz="1400" b="0" dirty="0" err="1">
                <a:latin typeface="Century Gothic" panose="020B0502020202020204" pitchFamily="34" charset="0"/>
              </a:rPr>
              <a:t>процестерін</a:t>
            </a:r>
            <a:r>
              <a:rPr lang="ru-RU" sz="1400" b="0" dirty="0">
                <a:latin typeface="Century Gothic" panose="020B0502020202020204" pitchFamily="34" charset="0"/>
              </a:rPr>
              <a:t>) </a:t>
            </a:r>
            <a:r>
              <a:rPr lang="ru-RU" sz="1400" b="0" dirty="0" err="1">
                <a:latin typeface="Century Gothic" panose="020B0502020202020204" pitchFamily="34" charset="0"/>
              </a:rPr>
              <a:t>бұз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14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бекітілге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ілеті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стандартында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зделмеге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ұжаттарды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талап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е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17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ақпараттық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жүйелерде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алынуы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мүмкі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ұжаттарды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талап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е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14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b="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қызметтер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көрсет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саласындағы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заңнаманың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өзге</a:t>
            </a:r>
            <a:r>
              <a:rPr lang="ru-RU" sz="1400" b="0" dirty="0">
                <a:latin typeface="Century Gothic" panose="020B0502020202020204" pitchFamily="34" charset="0"/>
              </a:rPr>
              <a:t> де </a:t>
            </a:r>
            <a:r>
              <a:rPr lang="ru-RU" sz="1400" b="0" dirty="0" err="1">
                <a:latin typeface="Century Gothic" panose="020B0502020202020204" pitchFamily="34" charset="0"/>
              </a:rPr>
              <a:t>талаптарын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бұзу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b="0" dirty="0" err="1">
                <a:latin typeface="Century Gothic" panose="020B0502020202020204" pitchFamily="34" charset="0"/>
              </a:rPr>
              <a:t>фактілері</a:t>
            </a:r>
            <a:r>
              <a:rPr lang="ru-RU" sz="1400" b="0" dirty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5.</a:t>
            </a:r>
          </a:p>
        </p:txBody>
      </p:sp>
      <p:sp>
        <p:nvSpPr>
          <p:cNvPr id="74" name="object 27">
            <a:extLst>
              <a:ext uri="{FF2B5EF4-FFF2-40B4-BE49-F238E27FC236}">
                <a16:creationId xmlns:a16="http://schemas.microsoft.com/office/drawing/2014/main" id="{95043CDC-C944-4ED5-97C4-21335F9E4B77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2">
            <a:extLst>
              <a:ext uri="{FF2B5EF4-FFF2-40B4-BE49-F238E27FC236}">
                <a16:creationId xmlns:a16="http://schemas.microsoft.com/office/drawing/2014/main" id="{B28404CE-2FF9-4CD3-8F7F-8DFF4409DDFA}"/>
              </a:ext>
            </a:extLst>
          </p:cNvPr>
          <p:cNvSpPr txBox="1"/>
          <p:nvPr/>
        </p:nvSpPr>
        <p:spPr>
          <a:xfrm>
            <a:off x="11626513" y="60500"/>
            <a:ext cx="170815" cy="197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</a:pPr>
            <a:r>
              <a:rPr lang="ru-RU" sz="1200" spc="-5" dirty="0">
                <a:solidFill>
                  <a:srgbClr val="FFFFFF"/>
                </a:solidFill>
                <a:latin typeface="KZ_Exo 2 Medium Condensed"/>
                <a:cs typeface="KZ_Exo 2 Medium Condensed"/>
              </a:rPr>
              <a:t>3</a:t>
            </a:r>
            <a:endParaRPr sz="1200" dirty="0">
              <a:latin typeface="KZ_Exo 2 Medium Condensed"/>
              <a:cs typeface="KZ_Exo 2 Medium Condensed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4F06DA7-612F-48A6-89F5-051B8543BBC8}"/>
              </a:ext>
            </a:extLst>
          </p:cNvPr>
          <p:cNvSpPr/>
          <p:nvPr/>
        </p:nvSpPr>
        <p:spPr>
          <a:xfrm>
            <a:off x="6104263" y="2232758"/>
            <a:ext cx="540193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6,5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мыңнан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стам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дамды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мти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отырып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b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</a:b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197-ге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уық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үсіндіру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іс-шаралары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өткізілді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ақылау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іс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–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шараларының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орытындылары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әзірленген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ұсынымдар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саны –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5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әртіптік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ауапкершілікке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артылған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ұлғалар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саны –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3.</a:t>
            </a:r>
            <a:endParaRPr lang="ru-KZ" sz="16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77B3B8C-1DA6-4C81-8B29-819D604F844A}"/>
              </a:ext>
            </a:extLst>
          </p:cNvPr>
          <p:cNvCxnSpPr/>
          <p:nvPr/>
        </p:nvCxnSpPr>
        <p:spPr>
          <a:xfrm>
            <a:off x="5958646" y="1236526"/>
            <a:ext cx="0" cy="487680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72">
            <a:extLst>
              <a:ext uri="{FF2B5EF4-FFF2-40B4-BE49-F238E27FC236}">
                <a16:creationId xmlns:a16="http://schemas.microsoft.com/office/drawing/2014/main" id="{A248F76F-C322-45DA-98DE-8629687DA8CF}"/>
              </a:ext>
            </a:extLst>
          </p:cNvPr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18" name="Группа 79">
              <a:extLst>
                <a:ext uri="{FF2B5EF4-FFF2-40B4-BE49-F238E27FC236}">
                  <a16:creationId xmlns:a16="http://schemas.microsoft.com/office/drawing/2014/main" id="{DA2D304D-E258-4788-8F01-10C0D0337BC2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23" name="object 48">
                <a:extLst>
                  <a:ext uri="{FF2B5EF4-FFF2-40B4-BE49-F238E27FC236}">
                    <a16:creationId xmlns:a16="http://schemas.microsoft.com/office/drawing/2014/main" id="{91D33916-5DD4-4467-987A-DCA81BF14927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4" name="object 48">
                <a:extLst>
                  <a:ext uri="{FF2B5EF4-FFF2-40B4-BE49-F238E27FC236}">
                    <a16:creationId xmlns:a16="http://schemas.microsoft.com/office/drawing/2014/main" id="{96CF0F35-1155-40D2-8DF0-95C3C4A3071F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19" name="Группа 85">
              <a:extLst>
                <a:ext uri="{FF2B5EF4-FFF2-40B4-BE49-F238E27FC236}">
                  <a16:creationId xmlns:a16="http://schemas.microsoft.com/office/drawing/2014/main" id="{A925AD0B-43CB-4277-B426-D49998668AB4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20" name="object 48">
                <a:extLst>
                  <a:ext uri="{FF2B5EF4-FFF2-40B4-BE49-F238E27FC236}">
                    <a16:creationId xmlns:a16="http://schemas.microsoft.com/office/drawing/2014/main" id="{C10B8EED-77E0-406E-956F-90ED82F558ED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1" name="object 48">
                <a:extLst>
                  <a:ext uri="{FF2B5EF4-FFF2-40B4-BE49-F238E27FC236}">
                    <a16:creationId xmlns:a16="http://schemas.microsoft.com/office/drawing/2014/main" id="{197D4B54-C16C-48C3-9846-0DE580ED6AE0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25" name="Группа 68">
            <a:extLst>
              <a:ext uri="{FF2B5EF4-FFF2-40B4-BE49-F238E27FC236}">
                <a16:creationId xmlns:a16="http://schemas.microsoft.com/office/drawing/2014/main" id="{93B8A24A-F0D5-4E52-B2FD-06E702ECE875}"/>
              </a:ext>
            </a:extLst>
          </p:cNvPr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26" name="Группа 73">
              <a:extLst>
                <a:ext uri="{FF2B5EF4-FFF2-40B4-BE49-F238E27FC236}">
                  <a16:creationId xmlns:a16="http://schemas.microsoft.com/office/drawing/2014/main" id="{27614351-DF68-483F-8780-5D995D4B22EA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30" name="object 48">
                <a:extLst>
                  <a:ext uri="{FF2B5EF4-FFF2-40B4-BE49-F238E27FC236}">
                    <a16:creationId xmlns:a16="http://schemas.microsoft.com/office/drawing/2014/main" id="{9A0AF11C-6F26-4D43-80A1-1037EF36B8C0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31" name="object 48">
                <a:extLst>
                  <a:ext uri="{FF2B5EF4-FFF2-40B4-BE49-F238E27FC236}">
                    <a16:creationId xmlns:a16="http://schemas.microsoft.com/office/drawing/2014/main" id="{74C228E7-D5BE-49A8-B320-3522A94C473A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27" name="Группа 74">
              <a:extLst>
                <a:ext uri="{FF2B5EF4-FFF2-40B4-BE49-F238E27FC236}">
                  <a16:creationId xmlns:a16="http://schemas.microsoft.com/office/drawing/2014/main" id="{39750639-F00C-4F2B-8248-9DD7699B24A5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28" name="object 48">
                <a:extLst>
                  <a:ext uri="{FF2B5EF4-FFF2-40B4-BE49-F238E27FC236}">
                    <a16:creationId xmlns:a16="http://schemas.microsoft.com/office/drawing/2014/main" id="{92ECC562-8658-4527-9C2A-67C129C6DFCC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9" name="object 48">
                <a:extLst>
                  <a:ext uri="{FF2B5EF4-FFF2-40B4-BE49-F238E27FC236}">
                    <a16:creationId xmlns:a16="http://schemas.microsoft.com/office/drawing/2014/main" id="{B8983342-8031-4C4B-A0D9-1C122B3DCA97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8C3E0E6-6D29-4E53-8C14-55D52A0C2D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" y="0"/>
            <a:ext cx="12115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8011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1" name="Прямая соединительная линия 110"/>
          <p:cNvCxnSpPr/>
          <p:nvPr/>
        </p:nvCxnSpPr>
        <p:spPr>
          <a:xfrm>
            <a:off x="152400" y="1524000"/>
            <a:ext cx="117994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bject 6"/>
          <p:cNvSpPr txBox="1">
            <a:spLocks/>
          </p:cNvSpPr>
          <p:nvPr/>
        </p:nvSpPr>
        <p:spPr>
          <a:xfrm>
            <a:off x="951978" y="1099639"/>
            <a:ext cx="1067447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/>
            <a:r>
              <a:rPr lang="ru-RU" kern="0" spc="20" dirty="0" err="1">
                <a:latin typeface="Century Gothic" pitchFamily="34" charset="0"/>
              </a:rPr>
              <a:t>Ішкі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бақылау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қорытындылары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бойынша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мемлекеттік</a:t>
            </a:r>
            <a:r>
              <a:rPr lang="ru-RU" kern="0" spc="20" dirty="0">
                <a:latin typeface="Century Gothic" pitchFamily="34" charset="0"/>
              </a:rPr>
              <a:t> </a:t>
            </a:r>
            <a:r>
              <a:rPr lang="ru-RU" kern="0" spc="20" dirty="0" err="1">
                <a:latin typeface="Century Gothic" pitchFamily="34" charset="0"/>
              </a:rPr>
              <a:t>қызметтер</a:t>
            </a:r>
            <a:endParaRPr lang="ru-RU" kern="0" spc="20" dirty="0">
              <a:latin typeface="Century Gothic" pitchFamily="34" charset="0"/>
            </a:endParaRPr>
          </a:p>
        </p:txBody>
      </p:sp>
      <p:grpSp>
        <p:nvGrpSpPr>
          <p:cNvPr id="5" name="Группа 5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5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  <p:sp>
          <p:nvSpPr>
            <p:cNvPr id="61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  <p:sp>
          <p:nvSpPr>
            <p:cNvPr id="62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  <p:sp>
          <p:nvSpPr>
            <p:cNvPr id="63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latin typeface="Century Gothic" pitchFamily="34" charset="0"/>
              </a:endParaRPr>
            </a:p>
          </p:txBody>
        </p:sp>
      </p:grpSp>
      <p:sp>
        <p:nvSpPr>
          <p:cNvPr id="27" name="object 6"/>
          <p:cNvSpPr txBox="1">
            <a:spLocks/>
          </p:cNvSpPr>
          <p:nvPr/>
        </p:nvSpPr>
        <p:spPr>
          <a:xfrm>
            <a:off x="5852963" y="1683707"/>
            <a:ext cx="6019800" cy="2755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 algn="just">
              <a:lnSpc>
                <a:spcPct val="113900"/>
              </a:lnSpc>
              <a:spcBef>
                <a:spcPts val="100"/>
              </a:spcBef>
            </a:pPr>
            <a:r>
              <a:rPr lang="ru-RU" sz="1600" dirty="0">
                <a:latin typeface="Century Gothic" pitchFamily="34" charset="0"/>
              </a:rPr>
              <a:t>2022 </a:t>
            </a:r>
            <a:r>
              <a:rPr lang="ru-RU" sz="1600" dirty="0" err="1">
                <a:latin typeface="Century Gothic" pitchFamily="34" charset="0"/>
              </a:rPr>
              <a:t>жылдың</a:t>
            </a:r>
            <a:r>
              <a:rPr lang="ru-RU" sz="1600" dirty="0">
                <a:latin typeface="Century Gothic" pitchFamily="34" charset="0"/>
              </a:rPr>
              <a:t> 2 </a:t>
            </a:r>
            <a:r>
              <a:rPr lang="ru-RU" sz="1600" dirty="0" err="1">
                <a:latin typeface="Century Gothic" pitchFamily="34" charset="0"/>
              </a:rPr>
              <a:t>тоқсанында</a:t>
            </a:r>
            <a:r>
              <a:rPr lang="ru-RU" sz="1600" dirty="0">
                <a:latin typeface="Century Gothic" pitchFamily="34" charset="0"/>
              </a:rPr>
              <a:t> </a:t>
            </a:r>
            <a:r>
              <a:rPr lang="ru-RU" sz="1600" u="sng" dirty="0">
                <a:latin typeface="Century Gothic" pitchFamily="34" charset="0"/>
              </a:rPr>
              <a:t>102 </a:t>
            </a:r>
            <a:r>
              <a:rPr lang="ru-RU" sz="1600" u="sng" dirty="0" err="1">
                <a:latin typeface="Century Gothic" pitchFamily="34" charset="0"/>
              </a:rPr>
              <a:t>бұзушылық</a:t>
            </a:r>
            <a:r>
              <a:rPr lang="ru-RU" sz="1600" u="sng" dirty="0">
                <a:latin typeface="Century Gothic" pitchFamily="34" charset="0"/>
              </a:rPr>
              <a:t> </a:t>
            </a:r>
            <a:r>
              <a:rPr lang="ru-RU" sz="1600" b="0" dirty="0" err="1">
                <a:latin typeface="Century Gothic" pitchFamily="34" charset="0"/>
              </a:rPr>
              <a:t>анықталды</a:t>
            </a:r>
            <a:r>
              <a:rPr lang="ru-RU" sz="1400" b="0" dirty="0">
                <a:latin typeface="Century Gothic" pitchFamily="34" charset="0"/>
              </a:rPr>
              <a:t>:</a:t>
            </a:r>
            <a:endParaRPr lang="ru-RU" sz="1400" b="0" u="sng" kern="0" spc="20" dirty="0">
              <a:solidFill>
                <a:srgbClr val="FF0000"/>
              </a:solidFill>
              <a:latin typeface="Century Gothic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28600" y="1676400"/>
            <a:ext cx="5181600" cy="322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 algn="just">
              <a:lnSpc>
                <a:spcPct val="113900"/>
              </a:lnSpc>
              <a:spcBef>
                <a:spcPts val="100"/>
              </a:spcBef>
            </a:pPr>
            <a:r>
              <a:rPr lang="ru-RU" sz="1400" b="1" dirty="0">
                <a:solidFill>
                  <a:srgbClr val="1F385D"/>
                </a:solidFill>
                <a:latin typeface="Century Gothic" pitchFamily="34" charset="0"/>
              </a:rPr>
              <a:t>2022 </a:t>
            </a:r>
            <a:r>
              <a:rPr lang="ru-RU" sz="1400" b="1" dirty="0" err="1">
                <a:solidFill>
                  <a:srgbClr val="1F385D"/>
                </a:solidFill>
                <a:latin typeface="Century Gothic" pitchFamily="34" charset="0"/>
              </a:rPr>
              <a:t>жылдың</a:t>
            </a:r>
            <a:r>
              <a:rPr lang="ru-RU" sz="1400" b="1" dirty="0">
                <a:solidFill>
                  <a:srgbClr val="1F385D"/>
                </a:solidFill>
                <a:latin typeface="Century Gothic" pitchFamily="34" charset="0"/>
              </a:rPr>
              <a:t> 1 </a:t>
            </a:r>
            <a:r>
              <a:rPr lang="ru-RU" sz="1400" b="1" dirty="0" err="1">
                <a:solidFill>
                  <a:srgbClr val="1F385D"/>
                </a:solidFill>
                <a:latin typeface="Century Gothic" pitchFamily="34" charset="0"/>
              </a:rPr>
              <a:t>тоқсанында</a:t>
            </a:r>
            <a:r>
              <a:rPr lang="ru-RU" sz="1400" b="1" dirty="0">
                <a:solidFill>
                  <a:srgbClr val="1F385D"/>
                </a:solidFill>
                <a:latin typeface="Century Gothic" pitchFamily="34" charset="0"/>
              </a:rPr>
              <a:t> </a:t>
            </a:r>
            <a:r>
              <a:rPr lang="ru-RU" sz="1400" b="1" u="sng" dirty="0">
                <a:solidFill>
                  <a:srgbClr val="1F385D"/>
                </a:solidFill>
                <a:latin typeface="Century Gothic" pitchFamily="34" charset="0"/>
              </a:rPr>
              <a:t>239 </a:t>
            </a:r>
            <a:r>
              <a:rPr lang="ru-RU" sz="1400" b="1" u="sng" dirty="0" err="1">
                <a:solidFill>
                  <a:srgbClr val="1F385D"/>
                </a:solidFill>
                <a:latin typeface="Century Gothic" pitchFamily="34" charset="0"/>
              </a:rPr>
              <a:t>бұзушылық</a:t>
            </a:r>
            <a:r>
              <a:rPr lang="ru-RU" sz="1400" b="1" u="sng" dirty="0">
                <a:solidFill>
                  <a:srgbClr val="1F385D"/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rgbClr val="1F385D"/>
                </a:solidFill>
                <a:latin typeface="Century Gothic" pitchFamily="34" charset="0"/>
              </a:rPr>
              <a:t>анықталды</a:t>
            </a:r>
            <a:r>
              <a:rPr lang="ru-RU" sz="1400" dirty="0">
                <a:solidFill>
                  <a:srgbClr val="1F385D"/>
                </a:solidFill>
                <a:latin typeface="Century Gothic" pitchFamily="34" charset="0"/>
              </a:rPr>
              <a:t>:</a:t>
            </a:r>
            <a:endParaRPr lang="ru-RU" sz="1400" b="1" dirty="0">
              <a:solidFill>
                <a:srgbClr val="1F385D"/>
              </a:solidFill>
              <a:latin typeface="Century Gothic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1000" y="1066800"/>
            <a:ext cx="381000" cy="399002"/>
          </a:xfrm>
          <a:prstGeom prst="rect">
            <a:avLst/>
          </a:prstGeom>
        </p:spPr>
      </p:pic>
      <p:cxnSp>
        <p:nvCxnSpPr>
          <p:cNvPr id="30" name="Прямая соединительная линия 29"/>
          <p:cNvCxnSpPr/>
          <p:nvPr/>
        </p:nvCxnSpPr>
        <p:spPr>
          <a:xfrm flipV="1">
            <a:off x="5638800" y="1600200"/>
            <a:ext cx="0" cy="46482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1">
            <a:extLst>
              <a:ext uri="{FF2B5EF4-FFF2-40B4-BE49-F238E27FC236}">
                <a16:creationId xmlns:a16="http://schemas.microsoft.com/office/drawing/2014/main" id="{17A9D5D6-639A-4372-B041-6A44F21BBA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94300" y="3554277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KZ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20614A-98BF-4406-9240-8527E04047BB}"/>
              </a:ext>
            </a:extLst>
          </p:cNvPr>
          <p:cNvSpPr txBox="1"/>
          <p:nvPr/>
        </p:nvSpPr>
        <p:spPr>
          <a:xfrm>
            <a:off x="1627771" y="3429000"/>
            <a:ext cx="8691544" cy="33085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8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ea typeface="Calibri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latin typeface="Century Gothic" pitchFamily="34" charset="0"/>
              <a:cs typeface="Arial" pitchFamily="34" charset="0"/>
            </a:endParaRPr>
          </a:p>
        </p:txBody>
      </p:sp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id="{E07E9C14-4BC6-4614-BF29-DDC725252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0234015"/>
              </p:ext>
            </p:extLst>
          </p:nvPr>
        </p:nvGraphicFramePr>
        <p:xfrm>
          <a:off x="168452" y="2091068"/>
          <a:ext cx="5412274" cy="44799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09274">
                  <a:extLst>
                    <a:ext uri="{9D8B030D-6E8A-4147-A177-3AD203B41FA5}">
                      <a16:colId xmlns:a16="http://schemas.microsoft.com/office/drawing/2014/main" val="4075734435"/>
                    </a:ext>
                  </a:extLst>
                </a:gridCol>
                <a:gridCol w="1082455">
                  <a:extLst>
                    <a:ext uri="{9D8B030D-6E8A-4147-A177-3AD203B41FA5}">
                      <a16:colId xmlns:a16="http://schemas.microsoft.com/office/drawing/2014/main" val="1341371680"/>
                    </a:ext>
                  </a:extLst>
                </a:gridCol>
                <a:gridCol w="802019">
                  <a:extLst>
                    <a:ext uri="{9D8B030D-6E8A-4147-A177-3AD203B41FA5}">
                      <a16:colId xmlns:a16="http://schemas.microsoft.com/office/drawing/2014/main" val="4030786999"/>
                    </a:ext>
                  </a:extLst>
                </a:gridCol>
                <a:gridCol w="609600">
                  <a:extLst>
                    <a:ext uri="{9D8B030D-6E8A-4147-A177-3AD203B41FA5}">
                      <a16:colId xmlns:a16="http://schemas.microsoft.com/office/drawing/2014/main" val="4122472286"/>
                    </a:ext>
                  </a:extLst>
                </a:gridCol>
                <a:gridCol w="954837">
                  <a:extLst>
                    <a:ext uri="{9D8B030D-6E8A-4147-A177-3AD203B41FA5}">
                      <a16:colId xmlns:a16="http://schemas.microsoft.com/office/drawing/2014/main" val="1602773389"/>
                    </a:ext>
                  </a:extLst>
                </a:gridCol>
                <a:gridCol w="571637">
                  <a:extLst>
                    <a:ext uri="{9D8B030D-6E8A-4147-A177-3AD203B41FA5}">
                      <a16:colId xmlns:a16="http://schemas.microsoft.com/office/drawing/2014/main" val="2717077117"/>
                    </a:ext>
                  </a:extLst>
                </a:gridCol>
                <a:gridCol w="618546">
                  <a:extLst>
                    <a:ext uri="{9D8B030D-6E8A-4147-A177-3AD203B41FA5}">
                      <a16:colId xmlns:a16="http://schemas.microsoft.com/office/drawing/2014/main" val="2785948849"/>
                    </a:ext>
                  </a:extLst>
                </a:gridCol>
                <a:gridCol w="463906">
                  <a:extLst>
                    <a:ext uri="{9D8B030D-6E8A-4147-A177-3AD203B41FA5}">
                      <a16:colId xmlns:a16="http://schemas.microsoft.com/office/drawing/2014/main" val="1706723109"/>
                    </a:ext>
                  </a:extLst>
                </a:gridCol>
              </a:tblGrid>
              <a:tr h="14452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№</a:t>
                      </a:r>
                      <a:r>
                        <a:rPr lang="ru-RU" sz="105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5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п/п</a:t>
                      </a:r>
                      <a:endParaRPr lang="ru-KZ" sz="105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млекеттік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рганның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тауы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сымша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ұжаттар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алап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ету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олық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емес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пакет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езінде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ызмет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рсету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млекеттік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ызмет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рсетуден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бас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арту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рзімдерін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ұзу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фактілері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млекеттік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ызмет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рсету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рзімдерін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ұзу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фактілері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Өзге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де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ұзушылықтар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ИЫНЫ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5992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алалық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оспарлау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әне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урбанистика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басқармасы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KZ" sz="11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392045"/>
                  </a:ext>
                </a:extLst>
              </a:tr>
              <a:tr h="64519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ер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атынастары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сқармасы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6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KZ" sz="11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6799308"/>
                  </a:ext>
                </a:extLst>
              </a:tr>
              <a:tr h="9690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Экология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және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қоршаған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орта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басқармасы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KZ" sz="11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798410"/>
                  </a:ext>
                </a:extLst>
              </a:tr>
              <a:tr h="5327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Мәдениет</a:t>
                      </a:r>
                      <a:r>
                        <a:rPr lang="ru-RU" sz="1100" dirty="0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100" dirty="0" err="1">
                          <a:solidFill>
                            <a:srgbClr val="002060"/>
                          </a:solidFill>
                          <a:latin typeface="Century Gothic" panose="020B0502020202020204" pitchFamily="34" charset="0"/>
                        </a:rPr>
                        <a:t>басқармасы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kk-KZ" sz="11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KZ" sz="11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1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KZ" sz="11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0842" marR="20842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7936007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EE87A735-5273-4A57-A946-671009E096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6827096"/>
              </p:ext>
            </p:extLst>
          </p:nvPr>
        </p:nvGraphicFramePr>
        <p:xfrm>
          <a:off x="5715004" y="1996001"/>
          <a:ext cx="6326673" cy="47415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0996">
                  <a:extLst>
                    <a:ext uri="{9D8B030D-6E8A-4147-A177-3AD203B41FA5}">
                      <a16:colId xmlns:a16="http://schemas.microsoft.com/office/drawing/2014/main" val="40208359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1257575737"/>
                    </a:ext>
                  </a:extLst>
                </a:gridCol>
                <a:gridCol w="911000">
                  <a:extLst>
                    <a:ext uri="{9D8B030D-6E8A-4147-A177-3AD203B41FA5}">
                      <a16:colId xmlns:a16="http://schemas.microsoft.com/office/drawing/2014/main" val="3807869680"/>
                    </a:ext>
                  </a:extLst>
                </a:gridCol>
                <a:gridCol w="631651">
                  <a:extLst>
                    <a:ext uri="{9D8B030D-6E8A-4147-A177-3AD203B41FA5}">
                      <a16:colId xmlns:a16="http://schemas.microsoft.com/office/drawing/2014/main" val="2197833195"/>
                    </a:ext>
                  </a:extLst>
                </a:gridCol>
                <a:gridCol w="1047104">
                  <a:extLst>
                    <a:ext uri="{9D8B030D-6E8A-4147-A177-3AD203B41FA5}">
                      <a16:colId xmlns:a16="http://schemas.microsoft.com/office/drawing/2014/main" val="836975261"/>
                    </a:ext>
                  </a:extLst>
                </a:gridCol>
                <a:gridCol w="706201">
                  <a:extLst>
                    <a:ext uri="{9D8B030D-6E8A-4147-A177-3AD203B41FA5}">
                      <a16:colId xmlns:a16="http://schemas.microsoft.com/office/drawing/2014/main" val="1919276144"/>
                    </a:ext>
                  </a:extLst>
                </a:gridCol>
                <a:gridCol w="694004">
                  <a:extLst>
                    <a:ext uri="{9D8B030D-6E8A-4147-A177-3AD203B41FA5}">
                      <a16:colId xmlns:a16="http://schemas.microsoft.com/office/drawing/2014/main" val="3343683902"/>
                    </a:ext>
                  </a:extLst>
                </a:gridCol>
                <a:gridCol w="431717">
                  <a:extLst>
                    <a:ext uri="{9D8B030D-6E8A-4147-A177-3AD203B41FA5}">
                      <a16:colId xmlns:a16="http://schemas.microsoft.com/office/drawing/2014/main" val="764369660"/>
                    </a:ext>
                  </a:extLst>
                </a:gridCol>
              </a:tblGrid>
              <a:tr h="8847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№ п/п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млекеттік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рганның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тауы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осымша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ұжаттар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алап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ету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олық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емес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пакет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езінде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ызмет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рсету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млекеттік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ызмет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рсетуден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бас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арту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рзімдерін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ұзу</a:t>
                      </a:r>
                      <a:r>
                        <a:rPr lang="ru-RU" sz="800" b="1" i="0" u="none" strike="noStrike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фактілері</a:t>
                      </a:r>
                      <a:endParaRPr lang="ru-RU" sz="800" b="1" i="0" u="none" strike="noStrike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млекеттік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қызмет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өрсету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рзімдерін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ұзу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фактілері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Өзге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де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ұзушылықтар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8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ИЫНЫ</a:t>
                      </a:r>
                      <a:endParaRPr lang="ru-KZ" sz="8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549211"/>
                  </a:ext>
                </a:extLst>
              </a:tr>
              <a:tr h="5355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Кәсіпкерлік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әне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инвестициялар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сқармас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0481136"/>
                  </a:ext>
                </a:extLst>
              </a:tr>
              <a:tr h="514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Спорт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асқармас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9632197"/>
                  </a:ext>
                </a:extLst>
              </a:tr>
              <a:tr h="514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noProof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Бостандық</a:t>
                      </a:r>
                      <a:r>
                        <a:rPr lang="ru-RU" sz="1000" noProof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noProof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уданы</a:t>
                      </a:r>
                      <a:r>
                        <a:rPr lang="ru-RU" sz="1000" noProof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noProof="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кімінің</a:t>
                      </a:r>
                      <a:r>
                        <a:rPr lang="ru-RU" sz="1000" noProof="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ппараты</a:t>
                      </a:r>
                      <a:endParaRPr lang="ru-RU" sz="1000" noProof="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1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9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4603269"/>
                  </a:ext>
                </a:extLst>
              </a:tr>
              <a:tr h="4285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kk-KZ" sz="1000" b="1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Жетісу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уданы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кімінің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ппарат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5922471"/>
                  </a:ext>
                </a:extLst>
              </a:tr>
              <a:tr h="51499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Түрксіб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уданы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кімінің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ппарат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3745277"/>
                  </a:ext>
                </a:extLst>
              </a:tr>
              <a:tr h="4285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kk-KZ" sz="1000" b="1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латау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уданы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кімінің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ппарат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0916672"/>
                  </a:ext>
                </a:extLst>
              </a:tr>
              <a:tr h="4285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kk-KZ" sz="1000" b="1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Медеу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уданы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кімінің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ппарат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3858579"/>
                  </a:ext>
                </a:extLst>
              </a:tr>
              <a:tr h="49054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kk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Наурызбай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ауданы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000" dirty="0" err="1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әкімінің</a:t>
                      </a:r>
                      <a:r>
                        <a:rPr lang="ru-RU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 аппараты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ru-KZ" sz="1000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kk-KZ" sz="100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  <a:endParaRPr lang="ru-KZ" sz="100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b="1" dirty="0">
                          <a:solidFill>
                            <a:srgbClr val="00206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ru-KZ" sz="1000" b="1" dirty="0">
                        <a:solidFill>
                          <a:srgbClr val="00206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918" marR="6918" marT="3145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76432"/>
                  </a:ext>
                </a:extLst>
              </a:tr>
            </a:tbl>
          </a:graphicData>
        </a:graphic>
      </p:graphicFrame>
      <p:grpSp>
        <p:nvGrpSpPr>
          <p:cNvPr id="19" name="Группа 72">
            <a:extLst>
              <a:ext uri="{FF2B5EF4-FFF2-40B4-BE49-F238E27FC236}">
                <a16:creationId xmlns:a16="http://schemas.microsoft.com/office/drawing/2014/main" id="{B08616DE-C92D-433C-BA6E-D3576509757E}"/>
              </a:ext>
            </a:extLst>
          </p:cNvPr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20" name="Группа 79">
              <a:extLst>
                <a:ext uri="{FF2B5EF4-FFF2-40B4-BE49-F238E27FC236}">
                  <a16:creationId xmlns:a16="http://schemas.microsoft.com/office/drawing/2014/main" id="{BFAF1DAE-0AC0-466A-9930-1BB51609C5D6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24" name="object 48">
                <a:extLst>
                  <a:ext uri="{FF2B5EF4-FFF2-40B4-BE49-F238E27FC236}">
                    <a16:creationId xmlns:a16="http://schemas.microsoft.com/office/drawing/2014/main" id="{15BF22B4-3311-4795-9604-2FB34D51C9AF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5" name="object 48">
                <a:extLst>
                  <a:ext uri="{FF2B5EF4-FFF2-40B4-BE49-F238E27FC236}">
                    <a16:creationId xmlns:a16="http://schemas.microsoft.com/office/drawing/2014/main" id="{8BC27572-9463-4330-86BF-8296E102BD33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21" name="Группа 85">
              <a:extLst>
                <a:ext uri="{FF2B5EF4-FFF2-40B4-BE49-F238E27FC236}">
                  <a16:creationId xmlns:a16="http://schemas.microsoft.com/office/drawing/2014/main" id="{14049F4E-5ADF-46FF-A990-EC7F5E4E1242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22" name="object 48">
                <a:extLst>
                  <a:ext uri="{FF2B5EF4-FFF2-40B4-BE49-F238E27FC236}">
                    <a16:creationId xmlns:a16="http://schemas.microsoft.com/office/drawing/2014/main" id="{C40A506E-EAE2-4B1A-BF04-FBBE2F3BF101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3" name="object 48">
                <a:extLst>
                  <a:ext uri="{FF2B5EF4-FFF2-40B4-BE49-F238E27FC236}">
                    <a16:creationId xmlns:a16="http://schemas.microsoft.com/office/drawing/2014/main" id="{33A6C12B-9EC9-4460-A10A-7772F0FEC7AE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  <p:grpSp>
        <p:nvGrpSpPr>
          <p:cNvPr id="26" name="Группа 68">
            <a:extLst>
              <a:ext uri="{FF2B5EF4-FFF2-40B4-BE49-F238E27FC236}">
                <a16:creationId xmlns:a16="http://schemas.microsoft.com/office/drawing/2014/main" id="{953AB5AA-49C6-4228-944C-CEE16BC64172}"/>
              </a:ext>
            </a:extLst>
          </p:cNvPr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33" name="Группа 73">
              <a:extLst>
                <a:ext uri="{FF2B5EF4-FFF2-40B4-BE49-F238E27FC236}">
                  <a16:creationId xmlns:a16="http://schemas.microsoft.com/office/drawing/2014/main" id="{A43E89AA-5024-40B4-9E9A-F60204463B4C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38" name="object 48">
                <a:extLst>
                  <a:ext uri="{FF2B5EF4-FFF2-40B4-BE49-F238E27FC236}">
                    <a16:creationId xmlns:a16="http://schemas.microsoft.com/office/drawing/2014/main" id="{C29AACD2-E916-4662-930C-68DCCB283038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39" name="object 48">
                <a:extLst>
                  <a:ext uri="{FF2B5EF4-FFF2-40B4-BE49-F238E27FC236}">
                    <a16:creationId xmlns:a16="http://schemas.microsoft.com/office/drawing/2014/main" id="{A25037D4-8F82-40A3-A327-83B40D45922D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34" name="Группа 74">
              <a:extLst>
                <a:ext uri="{FF2B5EF4-FFF2-40B4-BE49-F238E27FC236}">
                  <a16:creationId xmlns:a16="http://schemas.microsoft.com/office/drawing/2014/main" id="{9744DD12-FE62-4C56-A170-EAAA9D50710F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35" name="object 48">
                <a:extLst>
                  <a:ext uri="{FF2B5EF4-FFF2-40B4-BE49-F238E27FC236}">
                    <a16:creationId xmlns:a16="http://schemas.microsoft.com/office/drawing/2014/main" id="{7CB75602-BE42-474E-8351-2068A92CC802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36" name="object 48">
                <a:extLst>
                  <a:ext uri="{FF2B5EF4-FFF2-40B4-BE49-F238E27FC236}">
                    <a16:creationId xmlns:a16="http://schemas.microsoft.com/office/drawing/2014/main" id="{ECE1C9C6-E832-4ED7-B940-38CA59151178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  <p:sp>
        <p:nvSpPr>
          <p:cNvPr id="40" name="object 27">
            <a:extLst>
              <a:ext uri="{FF2B5EF4-FFF2-40B4-BE49-F238E27FC236}">
                <a16:creationId xmlns:a16="http://schemas.microsoft.com/office/drawing/2014/main" id="{ECA4FF33-0F8E-4C58-8AA6-012152A861F1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002416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31" name="Группа 30"/>
          <p:cNvGrpSpPr/>
          <p:nvPr/>
        </p:nvGrpSpPr>
        <p:grpSpPr>
          <a:xfrm>
            <a:off x="179833" y="178307"/>
            <a:ext cx="11832336" cy="6501384"/>
            <a:chOff x="275623" y="485074"/>
            <a:chExt cx="11832336" cy="6501384"/>
          </a:xfrm>
        </p:grpSpPr>
        <p:sp>
          <p:nvSpPr>
            <p:cNvPr id="2" name="object 2"/>
            <p:cNvSpPr/>
            <p:nvPr/>
          </p:nvSpPr>
          <p:spPr>
            <a:xfrm>
              <a:off x="275789" y="486770"/>
              <a:ext cx="11832005" cy="649799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75623" y="485074"/>
              <a:ext cx="11832336" cy="6501384"/>
            </a:xfrm>
            <a:prstGeom prst="rect">
              <a:avLst/>
            </a:prstGeom>
            <a:solidFill>
              <a:srgbClr val="1F385D">
                <a:alpha val="9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773317" y="762001"/>
            <a:ext cx="3341484" cy="702091"/>
            <a:chOff x="773316" y="773317"/>
            <a:chExt cx="3572756" cy="75068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73316" y="773317"/>
              <a:ext cx="3572756" cy="750684"/>
              <a:chOff x="1973415" y="39706"/>
              <a:chExt cx="8351686" cy="1754802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38738" y="110040"/>
                <a:ext cx="5186363" cy="1604999"/>
              </a:xfrm>
              <a:prstGeom prst="rect">
                <a:avLst/>
              </a:prstGeom>
            </p:spPr>
          </p:pic>
          <p:pic>
            <p:nvPicPr>
              <p:cNvPr id="22" name="Рисунок 2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3415" y="39706"/>
                <a:ext cx="1754801" cy="1754802"/>
              </a:xfrm>
              <a:prstGeom prst="rect">
                <a:avLst/>
              </a:prstGeom>
            </p:spPr>
          </p:pic>
        </p:grp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828800" y="856034"/>
              <a:ext cx="0" cy="658239"/>
            </a:xfrm>
            <a:prstGeom prst="line">
              <a:avLst/>
            </a:prstGeom>
            <a:ln>
              <a:solidFill>
                <a:schemeClr val="bg1">
                  <a:lumMod val="75000"/>
                  <a:alpha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FF8B1D8F-9F42-4D85-BDA9-E05E0730DA33}"/>
              </a:ext>
            </a:extLst>
          </p:cNvPr>
          <p:cNvSpPr txBox="1">
            <a:spLocks/>
          </p:cNvSpPr>
          <p:nvPr/>
        </p:nvSpPr>
        <p:spPr>
          <a:xfrm>
            <a:off x="228600" y="4495800"/>
            <a:ext cx="11658600" cy="4242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 algn="r">
              <a:lnSpc>
                <a:spcPct val="150000"/>
              </a:lnSpc>
              <a:spcBef>
                <a:spcPts val="100"/>
              </a:spcBef>
              <a:tabLst>
                <a:tab pos="1936114" algn="l"/>
                <a:tab pos="2169795" algn="l"/>
                <a:tab pos="3376929" algn="l"/>
                <a:tab pos="4213225" algn="l"/>
                <a:tab pos="6055995" algn="l"/>
              </a:tabLst>
            </a:pP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Деректерді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басқару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бөлімінің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есебі</a:t>
            </a:r>
            <a:endParaRPr lang="ru-RU" kern="0" spc="100" dirty="0">
              <a:solidFill>
                <a:srgbClr val="FFFFFF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7343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533402" y="230497"/>
            <a:ext cx="1622351" cy="500489"/>
            <a:chOff x="776751" y="158334"/>
            <a:chExt cx="1622351" cy="500489"/>
          </a:xfrm>
        </p:grpSpPr>
        <p:sp>
          <p:nvSpPr>
            <p:cNvPr id="6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7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8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9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</p:grp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400" y="914401"/>
            <a:ext cx="10668000" cy="2470276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3657600" y="914400"/>
            <a:ext cx="3886200" cy="9906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Алматы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аласының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ірыңғай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деректер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қоймасы</a:t>
            </a:r>
            <a:endParaRPr lang="en-US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8819" y="4054207"/>
            <a:ext cx="3767908" cy="2251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1</a:t>
            </a:r>
            <a:r>
              <a:rPr lang="en-US" sz="1200" dirty="0">
                <a:latin typeface="Century Gothic" panose="020B0502020202020204" pitchFamily="34" charset="0"/>
              </a:rPr>
              <a:t>) </a:t>
            </a:r>
            <a:r>
              <a:rPr lang="ru-RU" sz="1200" dirty="0">
                <a:latin typeface="Century Gothic" panose="020B0502020202020204" pitchFamily="34" charset="0"/>
              </a:rPr>
              <a:t>Алматы </a:t>
            </a:r>
            <a:r>
              <a:rPr lang="ru-RU" sz="1200" dirty="0" err="1">
                <a:latin typeface="Century Gothic" panose="020B0502020202020204" pitchFamily="34" charset="0"/>
              </a:rPr>
              <a:t>қаласының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сыни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деректерінің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көпшілігі</a:t>
            </a:r>
            <a:r>
              <a:rPr lang="ru-RU" sz="1200" dirty="0">
                <a:latin typeface="Century Gothic" panose="020B0502020202020204" pitchFamily="34" charset="0"/>
              </a:rPr>
              <a:t> (</a:t>
            </a:r>
            <a:r>
              <a:rPr lang="ru-RU" sz="1200" dirty="0" err="1">
                <a:latin typeface="Century Gothic" panose="020B0502020202020204" pitchFamily="34" charset="0"/>
              </a:rPr>
              <a:t>білім</a:t>
            </a:r>
            <a:r>
              <a:rPr lang="ru-RU" sz="1200" dirty="0">
                <a:latin typeface="Century Gothic" panose="020B0502020202020204" pitchFamily="34" charset="0"/>
              </a:rPr>
              <a:t> беру, </a:t>
            </a:r>
            <a:r>
              <a:rPr lang="ru-RU" sz="1200" dirty="0" err="1">
                <a:latin typeface="Century Gothic" panose="020B0502020202020204" pitchFamily="34" charset="0"/>
              </a:rPr>
              <a:t>денсаулы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сақтау</a:t>
            </a:r>
            <a:r>
              <a:rPr lang="ru-RU" sz="1200" dirty="0"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орғау</a:t>
            </a:r>
            <a:r>
              <a:rPr lang="ru-RU" sz="1200" dirty="0">
                <a:latin typeface="Century Gothic" panose="020B0502020202020204" pitchFamily="34" charset="0"/>
              </a:rPr>
              <a:t>) </a:t>
            </a:r>
            <a:r>
              <a:rPr lang="ru-RU" sz="1200" b="1" dirty="0" err="1">
                <a:latin typeface="Century Gothic" panose="020B0502020202020204" pitchFamily="34" charset="0"/>
              </a:rPr>
              <a:t>ведомстволық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қағидат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ойынша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иналады</a:t>
            </a:r>
            <a:r>
              <a:rPr lang="ru-RU" sz="1200" dirty="0">
                <a:latin typeface="Century Gothic" panose="020B0502020202020204" pitchFamily="34" charset="0"/>
              </a:rPr>
              <a:t>;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2) </a:t>
            </a:r>
            <a:r>
              <a:rPr lang="ru-RU" sz="1200" b="1" dirty="0" err="1">
                <a:latin typeface="Century Gothic" panose="020B0502020202020204" pitchFamily="34" charset="0"/>
              </a:rPr>
              <a:t>Қала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үшін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маңызды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деректердің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ір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өліг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коммерциялық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компанияларға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тиесілі</a:t>
            </a:r>
            <a:r>
              <a:rPr lang="ru-RU" sz="1200" dirty="0">
                <a:latin typeface="Century Gothic" panose="020B0502020202020204" pitchFamily="34" charset="0"/>
              </a:rPr>
              <a:t> (</a:t>
            </a:r>
            <a:r>
              <a:rPr lang="ru-RU" sz="1200" dirty="0" err="1">
                <a:latin typeface="Century Gothic" panose="020B0502020202020204" pitchFamily="34" charset="0"/>
              </a:rPr>
              <a:t>коммуналды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ызметтерд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еткізушілер</a:t>
            </a:r>
            <a:r>
              <a:rPr lang="ru-RU" sz="1200" dirty="0"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</a:rPr>
              <a:t>көл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холдингі</a:t>
            </a:r>
            <a:r>
              <a:rPr lang="ru-RU" sz="1200" dirty="0"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</a:rPr>
              <a:t>байланыс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операторлары</a:t>
            </a:r>
            <a:r>
              <a:rPr lang="ru-RU" sz="1200" dirty="0"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</a:rPr>
              <a:t>сақтандыру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компаниялар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latin typeface="Century Gothic" panose="020B0502020202020204" pitchFamily="34" charset="0"/>
              </a:rPr>
              <a:t> т. б.).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3) </a:t>
            </a:r>
            <a:r>
              <a:rPr lang="ru-RU" sz="1200" b="1" dirty="0">
                <a:latin typeface="Century Gothic" panose="020B0502020202020204" pitchFamily="34" charset="0"/>
              </a:rPr>
              <a:t>«</a:t>
            </a:r>
            <a:r>
              <a:rPr lang="en-US" sz="1200" b="1" dirty="0">
                <a:latin typeface="Century Gothic" panose="020B0502020202020204" pitchFamily="34" charset="0"/>
              </a:rPr>
              <a:t>IoT</a:t>
            </a:r>
            <a:r>
              <a:rPr lang="ru-RU" sz="1200" b="1" dirty="0">
                <a:latin typeface="Century Gothic" panose="020B0502020202020204" pitchFamily="34" charset="0"/>
              </a:rPr>
              <a:t>»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көмегіме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деректерді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басқару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тәсіл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оқ</a:t>
            </a:r>
            <a:r>
              <a:rPr lang="ru-RU" sz="1200" dirty="0">
                <a:latin typeface="Century Gothic" panose="020B0502020202020204" pitchFamily="34" charset="0"/>
              </a:rPr>
              <a:t>.</a:t>
            </a:r>
            <a:endParaRPr lang="en-US" sz="1200" b="1" dirty="0">
              <a:latin typeface="Century Gothic" panose="020B0502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166726" y="4011652"/>
            <a:ext cx="4184335" cy="2436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1) </a:t>
            </a:r>
            <a:r>
              <a:rPr lang="ru-RU" sz="120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коммерциялық</a:t>
            </a:r>
            <a:r>
              <a:rPr lang="ru-RU" sz="1200" dirty="0">
                <a:latin typeface="Century Gothic" panose="020B0502020202020204" pitchFamily="34" charset="0"/>
              </a:rPr>
              <a:t> ДБ </a:t>
            </a:r>
            <a:r>
              <a:rPr lang="ru-RU" sz="1200" dirty="0" err="1">
                <a:latin typeface="Century Gothic" panose="020B0502020202020204" pitchFamily="34" charset="0"/>
              </a:rPr>
              <a:t>интеграциялау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ойынша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пилотты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оба</a:t>
            </a:r>
            <a:r>
              <a:rPr lang="ru-RU" sz="1200" dirty="0">
                <a:latin typeface="Century Gothic" panose="020B0502020202020204" pitchFamily="34" charset="0"/>
              </a:rPr>
              <a:t> комм </a:t>
            </a:r>
            <a:r>
              <a:rPr lang="ru-RU" sz="1200" dirty="0" err="1">
                <a:latin typeface="Century Gothic" panose="020B0502020202020204" pitchFamily="34" charset="0"/>
              </a:rPr>
              <a:t>қызметтері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еткізушілерге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көп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ылды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алынбаға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табысының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орны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толтыруд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астауға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мүмкінд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ерд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>
                <a:latin typeface="Century Gothic" panose="020B0502020202020204" pitchFamily="34" charset="0"/>
              </a:rPr>
              <a:t>(</a:t>
            </a:r>
            <a:r>
              <a:rPr lang="ru-RU" sz="1200" b="1" dirty="0" err="1">
                <a:latin typeface="Century Gothic" panose="020B0502020202020204" pitchFamily="34" charset="0"/>
              </a:rPr>
              <a:t>жылына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шамамен</a:t>
            </a:r>
            <a:r>
              <a:rPr lang="ru-RU" sz="1200" b="1" dirty="0">
                <a:latin typeface="Century Gothic" panose="020B0502020202020204" pitchFamily="34" charset="0"/>
              </a:rPr>
              <a:t> 2,4 млрд </a:t>
            </a:r>
            <a:r>
              <a:rPr lang="ru-RU" sz="1200" b="1" dirty="0" err="1">
                <a:latin typeface="Century Gothic" panose="020B0502020202020204" pitchFamily="34" charset="0"/>
              </a:rPr>
              <a:t>тг</a:t>
            </a:r>
            <a:r>
              <a:rPr lang="ru-RU" sz="1200" b="1" dirty="0">
                <a:latin typeface="Century Gothic" panose="020B0502020202020204" pitchFamily="34" charset="0"/>
              </a:rPr>
              <a:t>);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2) Б</a:t>
            </a:r>
            <a:r>
              <a:rPr lang="kk-KZ" sz="1200" dirty="0">
                <a:latin typeface="Century Gothic" panose="020B0502020202020204" pitchFamily="34" charset="0"/>
              </a:rPr>
              <a:t>Д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білім</a:t>
            </a:r>
            <a:r>
              <a:rPr lang="ru-RU" sz="1200" dirty="0">
                <a:latin typeface="Century Gothic" panose="020B0502020202020204" pitchFamily="34" charset="0"/>
              </a:rPr>
              <a:t> беру, </a:t>
            </a:r>
            <a:r>
              <a:rPr lang="ru-RU" sz="1200" dirty="0" err="1">
                <a:latin typeface="Century Gothic" panose="020B0502020202020204" pitchFamily="34" charset="0"/>
              </a:rPr>
              <a:t>денсаулы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сақтау</a:t>
            </a:r>
            <a:r>
              <a:rPr lang="ru-RU" sz="1200" dirty="0"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орғау</a:t>
            </a:r>
            <a:r>
              <a:rPr lang="ru-RU" sz="1200" dirty="0">
                <a:latin typeface="Century Gothic" panose="020B0502020202020204" pitchFamily="34" charset="0"/>
              </a:rPr>
              <a:t>, </a:t>
            </a:r>
            <a:r>
              <a:rPr lang="ru-RU" sz="1200" dirty="0" err="1">
                <a:latin typeface="Century Gothic" panose="020B0502020202020204" pitchFamily="34" charset="0"/>
              </a:rPr>
              <a:t>көл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холдингі</a:t>
            </a:r>
            <a:r>
              <a:rPr lang="ru-RU" sz="1200" dirty="0">
                <a:latin typeface="Century Gothic" panose="020B0502020202020204" pitchFamily="34" charset="0"/>
              </a:rPr>
              <a:t>, комм </a:t>
            </a:r>
            <a:r>
              <a:rPr lang="ru-RU" sz="1200" dirty="0" err="1">
                <a:latin typeface="Century Gothic" panose="020B0502020202020204" pitchFamily="34" charset="0"/>
              </a:rPr>
              <a:t>қызметтері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еткізушілер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кластер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алыптастырылды</a:t>
            </a:r>
            <a:r>
              <a:rPr lang="ru-RU" sz="1200" dirty="0">
                <a:latin typeface="Century Gothic" panose="020B0502020202020204" pitchFamily="34" charset="0"/>
              </a:rPr>
              <a:t>;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3) </a:t>
            </a:r>
            <a:r>
              <a:rPr lang="ru-RU" sz="1200" dirty="0" err="1">
                <a:latin typeface="Century Gothic" panose="020B0502020202020204" pitchFamily="34" charset="0"/>
              </a:rPr>
              <a:t>Қала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тұрғындар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үші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проактивт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сервистерді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іске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асыру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үші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техникалық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мүмкіндік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асалған</a:t>
            </a:r>
            <a:r>
              <a:rPr lang="ru-RU" sz="1200" dirty="0">
                <a:latin typeface="Century Gothic" panose="020B0502020202020204" pitchFamily="34" charset="0"/>
              </a:rPr>
              <a:t> –</a:t>
            </a:r>
            <a:r>
              <a:rPr lang="ru-RU" sz="1200" b="1" dirty="0">
                <a:latin typeface="Century Gothic" panose="020B0502020202020204" pitchFamily="34" charset="0"/>
              </a:rPr>
              <a:t> «</a:t>
            </a:r>
            <a:r>
              <a:rPr lang="ru-RU" sz="1200" b="1" dirty="0" err="1">
                <a:latin typeface="Century Gothic" panose="020B0502020202020204" pitchFamily="34" charset="0"/>
              </a:rPr>
              <a:t>деректер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адам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артынан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жүгіреді</a:t>
            </a:r>
            <a:r>
              <a:rPr lang="ru-RU" sz="1200" b="1" dirty="0">
                <a:latin typeface="Century Gothic" panose="020B0502020202020204" pitchFamily="34" charset="0"/>
              </a:rPr>
              <a:t>» </a:t>
            </a:r>
            <a:r>
              <a:rPr lang="ru-RU" sz="1200" dirty="0" err="1">
                <a:latin typeface="Century Gothic" panose="020B0502020202020204" pitchFamily="34" charset="0"/>
              </a:rPr>
              <a:t>қағидаты</a:t>
            </a:r>
            <a:r>
              <a:rPr lang="ru-RU" sz="1200" dirty="0">
                <a:latin typeface="Century Gothic" panose="020B0502020202020204" pitchFamily="34" charset="0"/>
              </a:rPr>
              <a:t>.</a:t>
            </a:r>
            <a:endParaRPr lang="en-US" sz="1200" b="1" dirty="0">
              <a:latin typeface="Century Gothic" panose="020B0502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589402" y="3949363"/>
            <a:ext cx="3309257" cy="21313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1) 2022 </a:t>
            </a:r>
            <a:r>
              <a:rPr lang="ru-RU" sz="1200" dirty="0" err="1">
                <a:latin typeface="Century Gothic" panose="020B0502020202020204" pitchFamily="34" charset="0"/>
              </a:rPr>
              <a:t>жыл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экономикалық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кластерді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latin typeface="Century Gothic" panose="020B0502020202020204" pitchFamily="34" charset="0"/>
              </a:rPr>
              <a:t> 2023 </a:t>
            </a:r>
            <a:r>
              <a:rPr lang="ru-RU" sz="1200" dirty="0" err="1">
                <a:latin typeface="Century Gothic" panose="020B0502020202020204" pitchFamily="34" charset="0"/>
              </a:rPr>
              <a:t>жыл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жер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пайдалану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кластері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ұру</a:t>
            </a:r>
            <a:r>
              <a:rPr lang="ru-RU" sz="1200" dirty="0">
                <a:latin typeface="Century Gothic" panose="020B0502020202020204" pitchFamily="34" charset="0"/>
              </a:rPr>
              <a:t>;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2) </a:t>
            </a:r>
            <a:r>
              <a:rPr lang="ru-RU" sz="1200" b="1" dirty="0" err="1">
                <a:latin typeface="Century Gothic" panose="020B0502020202020204" pitchFamily="34" charset="0"/>
              </a:rPr>
              <a:t>Белсенді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әлеуметтік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қызметтерді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іске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осу</a:t>
            </a:r>
            <a:r>
              <a:rPr lang="ru-RU" sz="1200" dirty="0">
                <a:latin typeface="Century Gothic" panose="020B0502020202020204" pitchFamily="34" charset="0"/>
              </a:rPr>
              <a:t>;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3) </a:t>
            </a:r>
            <a:r>
              <a:rPr lang="en-US" sz="1200" b="1" dirty="0">
                <a:latin typeface="Century Gothic" panose="020B0502020202020204" pitchFamily="34" charset="0"/>
              </a:rPr>
              <a:t>IT </a:t>
            </a:r>
            <a:r>
              <a:rPr lang="ru-RU" sz="1200" b="1" dirty="0" err="1">
                <a:latin typeface="Century Gothic" panose="020B0502020202020204" pitchFamily="34" charset="0"/>
              </a:rPr>
              <a:t>құмсалғышты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іске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қосу</a:t>
            </a:r>
            <a:r>
              <a:rPr lang="ru-RU" sz="1200" dirty="0">
                <a:latin typeface="Century Gothic" panose="020B0502020202020204" pitchFamily="34" charset="0"/>
              </a:rPr>
              <a:t>-</a:t>
            </a:r>
            <a:r>
              <a:rPr lang="kk-KZ" sz="1200" dirty="0">
                <a:latin typeface="Century Gothic" panose="020B0502020202020204" pitchFamily="34" charset="0"/>
              </a:rPr>
              <a:t>қ</a:t>
            </a:r>
            <a:r>
              <a:rPr lang="ru-RU" sz="1200" dirty="0">
                <a:latin typeface="Century Gothic" panose="020B0502020202020204" pitchFamily="34" charset="0"/>
              </a:rPr>
              <a:t>ала </a:t>
            </a:r>
            <a:r>
              <a:rPr lang="ru-RU" sz="1200" dirty="0" err="1">
                <a:latin typeface="Century Gothic" panose="020B0502020202020204" pitchFamily="34" charset="0"/>
              </a:rPr>
              <a:t>үшін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сұраныс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жоғары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latin typeface="Century Gothic" panose="020B0502020202020204" pitchFamily="34" charset="0"/>
              </a:rPr>
              <a:t>деректер</a:t>
            </a:r>
            <a:r>
              <a:rPr lang="ru-RU" sz="1200" dirty="0">
                <a:latin typeface="Century Gothic" panose="020B0502020202020204" pitchFamily="34" charset="0"/>
              </a:rPr>
              <a:t>;</a:t>
            </a:r>
          </a:p>
          <a:p>
            <a:pPr>
              <a:spcAft>
                <a:spcPts val="500"/>
              </a:spcAft>
            </a:pPr>
            <a:r>
              <a:rPr lang="ru-RU" sz="1200" dirty="0">
                <a:latin typeface="Century Gothic" panose="020B0502020202020204" pitchFamily="34" charset="0"/>
              </a:rPr>
              <a:t>4) </a:t>
            </a:r>
            <a:r>
              <a:rPr lang="ru-RU" sz="1200" dirty="0" err="1">
                <a:latin typeface="Century Gothic" panose="020B0502020202020204" pitchFamily="34" charset="0"/>
              </a:rPr>
              <a:t>деректер</a:t>
            </a:r>
            <a:r>
              <a:rPr lang="ru-RU" sz="1200" dirty="0">
                <a:latin typeface="Century Gothic" panose="020B0502020202020204" pitchFamily="34" charset="0"/>
              </a:rPr>
              <a:t> мен </a:t>
            </a:r>
            <a:r>
              <a:rPr lang="ru-RU" sz="1200" dirty="0" err="1">
                <a:latin typeface="Century Gothic" panose="020B0502020202020204" pitchFamily="34" charset="0"/>
              </a:rPr>
              <a:t>толассыз</a:t>
            </a:r>
            <a:r>
              <a:rPr lang="ru-RU" sz="1200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платформалық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шешімдер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негізінде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en-US" sz="1200" b="1" dirty="0">
                <a:latin typeface="Century Gothic" panose="020B0502020202020204" pitchFamily="34" charset="0"/>
              </a:rPr>
              <a:t>value-added IT-</a:t>
            </a:r>
            <a:r>
              <a:rPr lang="ru-RU" sz="1200" b="1" dirty="0" err="1">
                <a:latin typeface="Century Gothic" panose="020B0502020202020204" pitchFamily="34" charset="0"/>
              </a:rPr>
              <a:t>өнімдерін</a:t>
            </a:r>
            <a:r>
              <a:rPr lang="ru-RU" sz="1200" b="1" dirty="0"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latin typeface="Century Gothic" panose="020B0502020202020204" pitchFamily="34" charset="0"/>
              </a:rPr>
              <a:t>жасау</a:t>
            </a:r>
            <a:r>
              <a:rPr lang="ru-RU" sz="1200" dirty="0">
                <a:latin typeface="Century Gothic" panose="020B0502020202020204" pitchFamily="34" charset="0"/>
              </a:rPr>
              <a:t>.</a:t>
            </a:r>
            <a:endParaRPr lang="en-US" sz="1200" dirty="0">
              <a:latin typeface="Century Gothic" panose="020B0502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19200" y="2873101"/>
            <a:ext cx="16002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Деректер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жариялаушылары</a:t>
            </a:r>
            <a:endParaRPr lang="en-US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819400" y="2667001"/>
            <a:ext cx="14478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0" name="Прямоугольник 19"/>
          <p:cNvSpPr/>
          <p:nvPr/>
        </p:nvSpPr>
        <p:spPr>
          <a:xfrm>
            <a:off x="7086600" y="2667001"/>
            <a:ext cx="18288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" name="Прямоугольник 20"/>
          <p:cNvSpPr/>
          <p:nvPr/>
        </p:nvSpPr>
        <p:spPr>
          <a:xfrm>
            <a:off x="8915400" y="2895601"/>
            <a:ext cx="16002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2" name="Прямоугольник 21"/>
          <p:cNvSpPr/>
          <p:nvPr/>
        </p:nvSpPr>
        <p:spPr>
          <a:xfrm>
            <a:off x="2743200" y="2789485"/>
            <a:ext cx="16002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Деректерді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таңдау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жариялау</a:t>
            </a:r>
            <a:endParaRPr lang="en-US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162800" y="2734165"/>
            <a:ext cx="18288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Деректерге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қол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жеткізу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тұтыну</a:t>
            </a:r>
            <a:endParaRPr lang="en-US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940800" y="2891083"/>
            <a:ext cx="1600200" cy="3138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Жазылушылар</a:t>
            </a:r>
            <a:b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(</a:t>
            </a:r>
            <a:r>
              <a:rPr lang="en-US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IT-</a:t>
            </a:r>
            <a:r>
              <a:rPr lang="ru-RU" sz="1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құмсалғыш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)</a:t>
            </a:r>
            <a:endParaRPr lang="en-US" sz="12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038600" y="1760032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err="1">
                <a:latin typeface="Century Gothic" panose="020B0502020202020204" pitchFamily="34" charset="0"/>
              </a:rPr>
              <a:t>Білім</a:t>
            </a:r>
            <a:r>
              <a:rPr lang="ru-RU" sz="1000" dirty="0">
                <a:latin typeface="Century Gothic" panose="020B0502020202020204" pitchFamily="34" charset="0"/>
              </a:rPr>
              <a:t> беру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019800" y="1752600"/>
            <a:ext cx="152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err="1">
                <a:latin typeface="Century Gothic" panose="020B0502020202020204" pitchFamily="34" charset="0"/>
              </a:rPr>
              <a:t>Денсаулық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сақтау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7100" y="3270552"/>
            <a:ext cx="228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 err="1">
                <a:latin typeface="Century Gothic" panose="020B0502020202020204" pitchFamily="34" charset="0"/>
              </a:rPr>
              <a:t>Коммерциялық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компаниялардың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деректері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400800" y="3373316"/>
            <a:ext cx="1752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latin typeface="Century Gothic" panose="020B0502020202020204" pitchFamily="34" charset="0"/>
              </a:rPr>
              <a:t>Smart Data </a:t>
            </a:r>
            <a:r>
              <a:rPr lang="en-US" sz="1000" dirty="0" err="1">
                <a:latin typeface="Century Gothic" panose="020B0502020202020204" pitchFamily="34" charset="0"/>
              </a:rPr>
              <a:t>Ukimet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038601" y="2149539"/>
            <a:ext cx="8953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000" dirty="0">
                <a:latin typeface="Century Gothic" panose="020B0502020202020204" pitchFamily="34" charset="0"/>
              </a:rPr>
              <a:t> </a:t>
            </a:r>
            <a:r>
              <a:rPr lang="ru-RU" sz="1000" dirty="0" err="1">
                <a:latin typeface="Century Gothic" panose="020B0502020202020204" pitchFamily="34" charset="0"/>
              </a:rPr>
              <a:t>қорғау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14965" y="3677765"/>
            <a:ext cx="27876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Не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болды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(</a:t>
            </a:r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gap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талдауы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):</a:t>
            </a:r>
            <a:endParaRPr lang="en-US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534914" y="3695125"/>
            <a:ext cx="24390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Не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өзгерді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</a:t>
            </a:r>
            <a:endParaRPr lang="en-US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666919" y="3650316"/>
            <a:ext cx="32771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Даму </a:t>
            </a:r>
            <a:r>
              <a:rPr lang="ru-RU" sz="1400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жоспарлары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:</a:t>
            </a:r>
            <a:endParaRPr lang="en-US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D379950-6F99-463C-83FC-65C36CCA6682}"/>
              </a:ext>
            </a:extLst>
          </p:cNvPr>
          <p:cNvSpPr txBox="1"/>
          <p:nvPr/>
        </p:nvSpPr>
        <p:spPr>
          <a:xfrm>
            <a:off x="1349946" y="275086"/>
            <a:ext cx="9851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Жобаның</a:t>
            </a:r>
            <a:r>
              <a:rPr lang="ru-RU" sz="2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қысқаша</a:t>
            </a:r>
            <a:r>
              <a:rPr lang="ru-RU" sz="2400" b="1" dirty="0">
                <a:solidFill>
                  <a:srgbClr val="1F385D"/>
                </a:solidFill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solidFill>
                  <a:srgbClr val="1F385D"/>
                </a:solidFill>
                <a:latin typeface="Century Gothic" panose="020B0502020202020204" pitchFamily="34" charset="0"/>
              </a:rPr>
              <a:t>мазмұны</a:t>
            </a:r>
            <a:endParaRPr lang="ru-RU" sz="2400" b="1" dirty="0">
              <a:solidFill>
                <a:srgbClr val="1F385D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14240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" name="Google Shape;97;p15"/>
          <p:cNvGrpSpPr/>
          <p:nvPr/>
        </p:nvGrpSpPr>
        <p:grpSpPr>
          <a:xfrm>
            <a:off x="258657" y="153838"/>
            <a:ext cx="1338115" cy="412729"/>
            <a:chOff x="776751" y="158334"/>
            <a:chExt cx="1622351" cy="500400"/>
          </a:xfrm>
        </p:grpSpPr>
        <p:sp>
          <p:nvSpPr>
            <p:cNvPr id="98" name="Google Shape;98;p15"/>
            <p:cNvSpPr/>
            <p:nvPr/>
          </p:nvSpPr>
          <p:spPr>
            <a:xfrm>
              <a:off x="776751" y="158334"/>
              <a:ext cx="409500" cy="500400"/>
            </a:xfrm>
            <a:prstGeom prst="rect">
              <a:avLst/>
            </a:prstGeom>
            <a:blipFill rotWithShape="1">
              <a:blip r:embed="rId3">
                <a:alphaModFix/>
              </a:blip>
              <a:stretch>
                <a:fillRect/>
              </a:stretch>
            </a:blip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endParaRPr sz="253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" name="Google Shape;99;p15"/>
            <p:cNvSpPr/>
            <p:nvPr/>
          </p:nvSpPr>
          <p:spPr>
            <a:xfrm>
              <a:off x="1353837" y="284054"/>
              <a:ext cx="720725" cy="70484"/>
            </a:xfrm>
            <a:custGeom>
              <a:avLst/>
              <a:gdLst/>
              <a:ahLst/>
              <a:cxnLst/>
              <a:rect l="l" t="t" r="r" b="b"/>
              <a:pathLst>
                <a:path w="720725" h="70484" extrusionOk="0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 extrusionOk="0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 extrusionOk="0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 extrusionOk="0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 extrusionOk="0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 extrusionOk="0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 extrusionOk="0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 extrusionOk="0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 extrusionOk="0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 extrusionOk="0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 extrusionOk="0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 extrusionOk="0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 extrusionOk="0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 extrusionOk="0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 extrusionOk="0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 extrusionOk="0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 extrusionOk="0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 extrusionOk="0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 extrusionOk="0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 extrusionOk="0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 extrusionOk="0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 extrusionOk="0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 extrusionOk="0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 extrusionOk="0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 extrusionOk="0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 extrusionOk="0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 extrusionOk="0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 extrusionOk="0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 extrusionOk="0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 extrusionOk="0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 extrusionOk="0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 extrusionOk="0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 extrusionOk="0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 extrusionOk="0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 extrusionOk="0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 extrusionOk="0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 extrusionOk="0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endParaRPr sz="253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" name="Google Shape;100;p15"/>
            <p:cNvSpPr/>
            <p:nvPr/>
          </p:nvSpPr>
          <p:spPr>
            <a:xfrm>
              <a:off x="1360937" y="560377"/>
              <a:ext cx="563880" cy="89534"/>
            </a:xfrm>
            <a:custGeom>
              <a:avLst/>
              <a:gdLst/>
              <a:ahLst/>
              <a:cxnLst/>
              <a:rect l="l" t="t" r="r" b="b"/>
              <a:pathLst>
                <a:path w="563880" h="89534" extrusionOk="0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 extrusionOk="0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 extrusionOk="0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 extrusionOk="0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 extrusionOk="0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 extrusionOk="0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 extrusionOk="0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 extrusionOk="0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 extrusionOk="0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 extrusionOk="0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 extrusionOk="0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 extrusionOk="0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 extrusionOk="0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 extrusionOk="0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 extrusionOk="0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 extrusionOk="0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 extrusionOk="0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 extrusionOk="0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 extrusionOk="0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 extrusionOk="0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 extrusionOk="0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 extrusionOk="0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 extrusionOk="0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 extrusionOk="0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 extrusionOk="0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 extrusionOk="0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 extrusionOk="0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 extrusionOk="0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 extrusionOk="0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 extrusionOk="0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 extrusionOk="0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 extrusionOk="0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 extrusionOk="0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 extrusionOk="0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endParaRPr sz="253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101;p15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 extrusionOk="0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 extrusionOk="0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 extrusionOk="0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 extrusionOk="0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 extrusionOk="0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 extrusionOk="0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 extrusionOk="0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 extrusionOk="0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 extrusionOk="0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 extrusionOk="0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 extrusionOk="0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 extrusionOk="0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 extrusionOk="0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 extrusionOk="0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 extrusionOk="0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 extrusionOk="0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 extrusionOk="0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 extrusionOk="0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 extrusionOk="0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 extrusionOk="0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 extrusionOk="0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 extrusionOk="0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 extrusionOk="0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 extrusionOk="0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 extrusionOk="0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 extrusionOk="0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 extrusionOk="0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 extrusionOk="0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 extrusionOk="0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 extrusionOk="0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 extrusionOk="0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 extrusionOk="0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 extrusionOk="0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 extrusionOk="0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endParaRPr sz="2533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" name="Google Shape;109;p15"/>
          <p:cNvSpPr txBox="1"/>
          <p:nvPr/>
        </p:nvSpPr>
        <p:spPr>
          <a:xfrm>
            <a:off x="147733" y="600267"/>
            <a:ext cx="11760092" cy="1095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algn="ctr">
              <a:lnSpc>
                <a:spcPct val="115000"/>
              </a:lnSpc>
            </a:pP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Жобаны</a:t>
            </a:r>
            <a:r>
              <a:rPr lang="ru-RU" sz="2400" b="1" dirty="0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іске</a:t>
            </a:r>
            <a:r>
              <a:rPr lang="ru-RU" sz="2400" b="1" dirty="0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асыру</a:t>
            </a:r>
            <a:r>
              <a:rPr lang="ru-RU" sz="2400" b="1" dirty="0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барысында</a:t>
            </a:r>
            <a:r>
              <a:rPr lang="ru-RU" sz="2400" b="1" dirty="0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анықталған</a:t>
            </a:r>
            <a:r>
              <a:rPr lang="ru-RU" sz="2400" b="1" dirty="0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 </a:t>
            </a: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проблемалар</a:t>
            </a:r>
            <a:r>
              <a:rPr lang="ru-RU" sz="2400" b="1" dirty="0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 мен </a:t>
            </a:r>
            <a:r>
              <a:rPr lang="ru-RU" sz="2400" b="1" dirty="0" err="1">
                <a:solidFill>
                  <a:srgbClr val="17365D"/>
                </a:solidFill>
                <a:latin typeface="Century Gothic" panose="020B0502020202020204" pitchFamily="34" charset="0"/>
                <a:ea typeface="Open Sans"/>
                <a:cs typeface="Open Sans"/>
                <a:sym typeface="Open Sans"/>
              </a:rPr>
              <a:t>мүмкіндіктер</a:t>
            </a:r>
            <a:endParaRPr sz="2400" b="1" u="sng" dirty="0">
              <a:solidFill>
                <a:srgbClr val="17365D"/>
              </a:solidFill>
              <a:latin typeface="Century Gothic" panose="020B0502020202020204" pitchFamily="34" charset="0"/>
              <a:ea typeface="Open Sans"/>
              <a:cs typeface="Open Sans"/>
              <a:sym typeface="Open Sans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73862223"/>
              </p:ext>
            </p:extLst>
          </p:nvPr>
        </p:nvGraphicFramePr>
        <p:xfrm>
          <a:off x="1813931" y="1229000"/>
          <a:ext cx="9232204" cy="52734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734638" y="1686545"/>
            <a:ext cx="594453" cy="2169299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400" b="1" dirty="0" err="1"/>
              <a:t>Мәселелер</a:t>
            </a:r>
            <a:endParaRPr lang="en-US" sz="2400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34638" y="4059707"/>
            <a:ext cx="594453" cy="2225288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400" b="1" dirty="0"/>
              <a:t>М</a:t>
            </a:r>
            <a:r>
              <a:rPr lang="kk-KZ" sz="2400" b="1" dirty="0" err="1"/>
              <a:t>үмкіндіктер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450606412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E7A628-1ED6-4AF5-9A0D-C1E199478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71607" y="350193"/>
            <a:ext cx="8860221" cy="581633"/>
          </a:xfrm>
        </p:spPr>
        <p:txBody>
          <a:bodyPr>
            <a:noAutofit/>
          </a:bodyPr>
          <a:lstStyle/>
          <a:p>
            <a:pPr algn="ctr"/>
            <a:r>
              <a:rPr lang="ru-RU" dirty="0" err="1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әтижелері</a:t>
            </a:r>
            <a:endParaRPr lang="ru-RU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A2D0240-863D-432F-A077-7B5C2CD09217}"/>
              </a:ext>
            </a:extLst>
          </p:cNvPr>
          <p:cNvSpPr txBox="1"/>
          <p:nvPr/>
        </p:nvSpPr>
        <p:spPr>
          <a:xfrm>
            <a:off x="6400799" y="914400"/>
            <a:ext cx="5410197" cy="6494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8" algn="just"/>
            <a:endParaRPr lang="ru-RU" sz="1600" b="1" dirty="0">
              <a:latin typeface="Century Gothic" panose="020B0502020202020204" pitchFamily="34" charset="0"/>
            </a:endParaRPr>
          </a:p>
          <a:p>
            <a:r>
              <a:rPr lang="ru-RU" sz="1600" b="1" dirty="0" err="1">
                <a:latin typeface="Century Gothic" panose="020B0502020202020204" pitchFamily="34" charset="0"/>
              </a:rPr>
              <a:t>Процесінде</a:t>
            </a:r>
            <a:r>
              <a:rPr lang="ru-RU" sz="1600" b="1" dirty="0">
                <a:latin typeface="Century Gothic" panose="020B0502020202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>
                <a:latin typeface="Century Gothic" panose="020B0502020202020204" pitchFamily="34" charset="0"/>
              </a:rPr>
              <a:t>Қалад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іркеуді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арттыр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мақсатынд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коммуналдық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ызметтерді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шамада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ыс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ұтынаты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мекенжайлард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өңде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b="1" dirty="0">
                <a:latin typeface="Century Gothic" panose="020B0502020202020204" pitchFamily="34" charset="0"/>
              </a:rPr>
              <a:t>«Алматы Су – </a:t>
            </a:r>
            <a:r>
              <a:rPr lang="ru-RU" sz="1600" b="1" dirty="0" err="1">
                <a:latin typeface="Century Gothic" panose="020B0502020202020204" pitchFamily="34" charset="0"/>
              </a:rPr>
              <a:t>жергілікті</a:t>
            </a:r>
            <a:r>
              <a:rPr lang="ru-RU" sz="1600" b="1" dirty="0">
                <a:latin typeface="Century Gothic" panose="020B0502020202020204" pitchFamily="34" charset="0"/>
              </a:rPr>
              <a:t> полиция </a:t>
            </a:r>
            <a:r>
              <a:rPr lang="ru-RU" sz="1600" b="1" dirty="0" err="1">
                <a:latin typeface="Century Gothic" panose="020B0502020202020204" pitchFamily="34" charset="0"/>
              </a:rPr>
              <a:t>қызметі</a:t>
            </a:r>
            <a:r>
              <a:rPr lang="ru-RU" sz="1600" b="1" dirty="0">
                <a:latin typeface="Century Gothic" panose="020B0502020202020204" pitchFamily="34" charset="0"/>
              </a:rPr>
              <a:t>»</a:t>
            </a:r>
            <a:r>
              <a:rPr lang="ru-RU" sz="1600" dirty="0">
                <a:latin typeface="Century Gothic" panose="020B0502020202020204" pitchFamily="34" charset="0"/>
              </a:rPr>
              <a:t> пилоты </a:t>
            </a:r>
            <a:r>
              <a:rPr lang="ru-RU" sz="1600" dirty="0" err="1">
                <a:latin typeface="Century Gothic" panose="020B0502020202020204" pitchFamily="34" charset="0"/>
              </a:rPr>
              <a:t>іске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осылды</a:t>
            </a:r>
            <a:r>
              <a:rPr lang="ru-RU" sz="1600" dirty="0"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latin typeface="Century Gothic" panose="020B0502020202020204" pitchFamily="34" charset="0"/>
              </a:rPr>
              <a:t>БД</a:t>
            </a:r>
            <a:r>
              <a:rPr lang="kk-KZ" sz="1600" b="1" dirty="0">
                <a:latin typeface="Century Gothic" panose="020B0502020202020204" pitchFamily="34" charset="0"/>
              </a:rPr>
              <a:t>Қ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жариялаушылар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үші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үлгілік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келісімдер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пысықталуда</a:t>
            </a:r>
            <a:r>
              <a:rPr lang="ru-RU" sz="1600" b="1" dirty="0">
                <a:latin typeface="Century Gothic" panose="020B0502020202020204" pitchFamily="34" charset="0"/>
              </a:rPr>
              <a:t>.</a:t>
            </a:r>
          </a:p>
          <a:p>
            <a:endParaRPr lang="ru-RU" sz="1600" dirty="0">
              <a:latin typeface="Century Gothic" panose="020B0502020202020204" pitchFamily="34" charset="0"/>
            </a:endParaRPr>
          </a:p>
          <a:p>
            <a:pPr algn="just"/>
            <a:r>
              <a:rPr lang="ru-RU" sz="1600" dirty="0">
                <a:latin typeface="Century Gothic" panose="020B0502020202020204" pitchFamily="34" charset="0"/>
              </a:rPr>
              <a:t>2022 </a:t>
            </a:r>
            <a:r>
              <a:rPr lang="ru-RU" sz="1600" dirty="0" err="1">
                <a:latin typeface="Century Gothic" panose="020B0502020202020204" pitchFamily="34" charset="0"/>
              </a:rPr>
              <a:t>жылғ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мамырда</a:t>
            </a:r>
            <a:r>
              <a:rPr lang="ru-RU" sz="1600" dirty="0">
                <a:latin typeface="Century Gothic" panose="020B0502020202020204" pitchFamily="34" charset="0"/>
              </a:rPr>
              <a:t> ЦДИАӨМ, БҒМ </a:t>
            </a:r>
            <a:r>
              <a:rPr lang="ru-RU" sz="1600" dirty="0" err="1">
                <a:latin typeface="Century Gothic" panose="020B0502020202020204" pitchFamily="34" charset="0"/>
              </a:rPr>
              <a:t>және</a:t>
            </a:r>
            <a:r>
              <a:rPr lang="ru-RU" sz="1600" dirty="0">
                <a:latin typeface="Century Gothic" panose="020B0502020202020204" pitchFamily="34" charset="0"/>
              </a:rPr>
              <a:t> ЕХӘҚМ-мен Алматы </a:t>
            </a:r>
            <a:r>
              <a:rPr lang="ru-RU" sz="1600" dirty="0" err="1">
                <a:latin typeface="Century Gothic" panose="020B0502020202020204" pitchFamily="34" charset="0"/>
              </a:rPr>
              <a:t>қаласының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ұрғындар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үші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жаң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проактивті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сервистер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әзірле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урал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уағдаластыққ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ол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жеткізілді</a:t>
            </a:r>
            <a:r>
              <a:rPr lang="ru-RU" sz="1600" dirty="0">
                <a:latin typeface="Century Gothic" panose="020B0502020202020204" pitchFamily="34" charset="0"/>
              </a:rPr>
              <a:t>:</a:t>
            </a:r>
          </a:p>
          <a:p>
            <a:pPr marL="800100" lvl="1" indent="-342900" algn="just">
              <a:buAutoNum type="arabicParenR"/>
            </a:pPr>
            <a:r>
              <a:rPr lang="ru-RU" sz="1600" b="1" dirty="0" err="1">
                <a:latin typeface="Century Gothic" panose="020B0502020202020204" pitchFamily="34" charset="0"/>
              </a:rPr>
              <a:t>қоғамдық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көлікте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жол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жүруге</a:t>
            </a:r>
            <a:r>
              <a:rPr lang="ru-RU" sz="1600" b="1" dirty="0">
                <a:latin typeface="Century Gothic" panose="020B0502020202020204" pitchFamily="34" charset="0"/>
              </a:rPr>
              <a:t> «</a:t>
            </a:r>
            <a:r>
              <a:rPr lang="ru-RU" sz="1600" b="1" dirty="0" err="1">
                <a:latin typeface="Century Gothic" panose="020B0502020202020204" pitchFamily="34" charset="0"/>
              </a:rPr>
              <a:t>Оңай</a:t>
            </a:r>
            <a:r>
              <a:rPr lang="ru-RU" sz="1600" b="1" dirty="0">
                <a:latin typeface="Century Gothic" panose="020B0502020202020204" pitchFamily="34" charset="0"/>
              </a:rPr>
              <a:t>» </a:t>
            </a:r>
            <a:r>
              <a:rPr lang="ru-RU" sz="1600" b="1" dirty="0" err="1">
                <a:latin typeface="Century Gothic" panose="020B0502020202020204" pitchFamily="34" charset="0"/>
              </a:rPr>
              <a:t>жеңілдік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карталарын</a:t>
            </a:r>
            <a:r>
              <a:rPr lang="ru-RU" sz="1600" b="1" dirty="0">
                <a:latin typeface="Century Gothic" panose="020B0502020202020204" pitchFamily="34" charset="0"/>
              </a:rPr>
              <a:t> беру </a:t>
            </a:r>
            <a:r>
              <a:rPr lang="ru-RU" sz="1600" b="1" dirty="0" err="1">
                <a:latin typeface="Century Gothic" panose="020B0502020202020204" pitchFamily="34" charset="0"/>
              </a:rPr>
              <a:t>үші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әлеуметтік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санаттағы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азаматтардың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деректері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тексеруді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автоматтандыру</a:t>
            </a:r>
            <a:r>
              <a:rPr lang="ru-RU" sz="1600" b="1" dirty="0">
                <a:latin typeface="Century Gothic" panose="020B0502020202020204" pitchFamily="34" charset="0"/>
              </a:rPr>
              <a:t>;</a:t>
            </a:r>
          </a:p>
          <a:p>
            <a:pPr marL="800100" lvl="1" indent="-342900" algn="just">
              <a:buAutoNum type="arabicParenR"/>
            </a:pP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мүмкі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болаты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жеңілдіктерді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міндетті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түрде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ұсыну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мақсатында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белгілі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бір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әлеуметтік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топта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адамдар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саны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коммуналдық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төлемдер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түбіртектерінде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автоматты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түрде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шығару</a:t>
            </a:r>
            <a:r>
              <a:rPr lang="ru-RU" sz="1600" b="1" dirty="0">
                <a:latin typeface="Century Gothic" panose="020B0502020202020204" pitchFamily="34" charset="0"/>
              </a:rPr>
              <a:t>.</a:t>
            </a:r>
            <a:endParaRPr lang="ru-RU" sz="1600" dirty="0">
              <a:latin typeface="Century Gothic" panose="020B0502020202020204" pitchFamily="34" charset="0"/>
            </a:endParaRPr>
          </a:p>
          <a:p>
            <a:endParaRPr lang="ru-RU" sz="1600" b="1" dirty="0">
              <a:latin typeface="Century Gothic" panose="020B050202020202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ru-RU" sz="1600" b="1" dirty="0">
              <a:latin typeface="Century Gothic" panose="020B0502020202020204" pitchFamily="34" charset="0"/>
            </a:endParaRPr>
          </a:p>
          <a:p>
            <a:endParaRPr lang="en-US" sz="1600" dirty="0">
              <a:latin typeface="Century Gothic" panose="020B0502020202020204" pitchFamily="34" charset="0"/>
            </a:endParaRPr>
          </a:p>
        </p:txBody>
      </p:sp>
      <p:sp>
        <p:nvSpPr>
          <p:cNvPr id="7" name="object 2"/>
          <p:cNvSpPr/>
          <p:nvPr/>
        </p:nvSpPr>
        <p:spPr>
          <a:xfrm>
            <a:off x="356335" y="308440"/>
            <a:ext cx="409359" cy="5004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8" name="object 3"/>
          <p:cNvSpPr/>
          <p:nvPr/>
        </p:nvSpPr>
        <p:spPr>
          <a:xfrm>
            <a:off x="933432" y="434159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84" y="20205"/>
                </a:moveTo>
                <a:lnTo>
                  <a:pt x="664629" y="20205"/>
                </a:lnTo>
                <a:lnTo>
                  <a:pt x="664629" y="68656"/>
                </a:lnTo>
                <a:lnTo>
                  <a:pt x="664921" y="68656"/>
                </a:lnTo>
                <a:lnTo>
                  <a:pt x="670026" y="69062"/>
                </a:lnTo>
                <a:lnTo>
                  <a:pt x="676922" y="69265"/>
                </a:lnTo>
                <a:lnTo>
                  <a:pt x="692061" y="69265"/>
                </a:lnTo>
                <a:lnTo>
                  <a:pt x="696595" y="68186"/>
                </a:lnTo>
                <a:lnTo>
                  <a:pt x="701903" y="63868"/>
                </a:lnTo>
                <a:lnTo>
                  <a:pt x="702331" y="62598"/>
                </a:lnTo>
                <a:lnTo>
                  <a:pt x="684326" y="62598"/>
                </a:lnTo>
                <a:lnTo>
                  <a:pt x="672884" y="62496"/>
                </a:lnTo>
                <a:lnTo>
                  <a:pt x="672884" y="45275"/>
                </a:lnTo>
                <a:lnTo>
                  <a:pt x="702149" y="45275"/>
                </a:lnTo>
                <a:lnTo>
                  <a:pt x="701878" y="44488"/>
                </a:lnTo>
                <a:lnTo>
                  <a:pt x="696429" y="40106"/>
                </a:lnTo>
                <a:lnTo>
                  <a:pt x="691502" y="39001"/>
                </a:lnTo>
                <a:lnTo>
                  <a:pt x="672884" y="39001"/>
                </a:lnTo>
                <a:lnTo>
                  <a:pt x="672884" y="20205"/>
                </a:lnTo>
                <a:close/>
              </a:path>
              <a:path w="720725" h="70484">
                <a:moveTo>
                  <a:pt x="702149" y="45275"/>
                </a:moveTo>
                <a:lnTo>
                  <a:pt x="688314" y="45275"/>
                </a:lnTo>
                <a:lnTo>
                  <a:pt x="691032" y="45885"/>
                </a:lnTo>
                <a:lnTo>
                  <a:pt x="693940" y="48348"/>
                </a:lnTo>
                <a:lnTo>
                  <a:pt x="694677" y="50584"/>
                </a:lnTo>
                <a:lnTo>
                  <a:pt x="694677" y="57353"/>
                </a:lnTo>
                <a:lnTo>
                  <a:pt x="693928" y="59689"/>
                </a:lnTo>
                <a:lnTo>
                  <a:pt x="690943" y="62014"/>
                </a:lnTo>
                <a:lnTo>
                  <a:pt x="688238" y="62598"/>
                </a:lnTo>
                <a:lnTo>
                  <a:pt x="702331" y="62598"/>
                </a:lnTo>
                <a:lnTo>
                  <a:pt x="703237" y="59905"/>
                </a:lnTo>
                <a:lnTo>
                  <a:pt x="703210" y="48348"/>
                </a:lnTo>
                <a:lnTo>
                  <a:pt x="702149" y="45275"/>
                </a:lnTo>
                <a:close/>
              </a:path>
              <a:path w="720725" h="70484">
                <a:moveTo>
                  <a:pt x="720648" y="20205"/>
                </a:moveTo>
                <a:lnTo>
                  <a:pt x="712089" y="20205"/>
                </a:lnTo>
                <a:lnTo>
                  <a:pt x="712089" y="68656"/>
                </a:lnTo>
                <a:lnTo>
                  <a:pt x="720648" y="68656"/>
                </a:lnTo>
                <a:lnTo>
                  <a:pt x="720648" y="20205"/>
                </a:lnTo>
                <a:close/>
              </a:path>
              <a:path w="720725" h="70484">
                <a:moveTo>
                  <a:pt x="642734" y="19011"/>
                </a:moveTo>
                <a:lnTo>
                  <a:pt x="628015" y="19011"/>
                </a:lnTo>
                <a:lnTo>
                  <a:pt x="622084" y="20916"/>
                </a:lnTo>
                <a:lnTo>
                  <a:pt x="615111" y="28549"/>
                </a:lnTo>
                <a:lnTo>
                  <a:pt x="613371" y="35090"/>
                </a:lnTo>
                <a:lnTo>
                  <a:pt x="613371" y="53733"/>
                </a:lnTo>
                <a:lnTo>
                  <a:pt x="615099" y="60324"/>
                </a:lnTo>
                <a:lnTo>
                  <a:pt x="621995" y="67944"/>
                </a:lnTo>
                <a:lnTo>
                  <a:pt x="627938" y="69862"/>
                </a:lnTo>
                <a:lnTo>
                  <a:pt x="642670" y="69862"/>
                </a:lnTo>
                <a:lnTo>
                  <a:pt x="648182" y="69024"/>
                </a:lnTo>
                <a:lnTo>
                  <a:pt x="652881" y="67373"/>
                </a:lnTo>
                <a:lnTo>
                  <a:pt x="652222" y="62699"/>
                </a:lnTo>
                <a:lnTo>
                  <a:pt x="631913" y="62699"/>
                </a:lnTo>
                <a:lnTo>
                  <a:pt x="627875" y="61404"/>
                </a:lnTo>
                <a:lnTo>
                  <a:pt x="623366" y="56222"/>
                </a:lnTo>
                <a:lnTo>
                  <a:pt x="622236" y="51409"/>
                </a:lnTo>
                <a:lnTo>
                  <a:pt x="622236" y="37414"/>
                </a:lnTo>
                <a:lnTo>
                  <a:pt x="623379" y="32638"/>
                </a:lnTo>
                <a:lnTo>
                  <a:pt x="627964" y="27470"/>
                </a:lnTo>
                <a:lnTo>
                  <a:pt x="631977" y="26174"/>
                </a:lnTo>
                <a:lnTo>
                  <a:pt x="651018" y="26174"/>
                </a:lnTo>
                <a:lnTo>
                  <a:pt x="651979" y="21297"/>
                </a:lnTo>
                <a:lnTo>
                  <a:pt x="647941" y="19773"/>
                </a:lnTo>
                <a:lnTo>
                  <a:pt x="642734" y="19011"/>
                </a:lnTo>
                <a:close/>
              </a:path>
              <a:path w="720725" h="70484">
                <a:moveTo>
                  <a:pt x="652081" y="61696"/>
                </a:moveTo>
                <a:lnTo>
                  <a:pt x="647903" y="62356"/>
                </a:lnTo>
                <a:lnTo>
                  <a:pt x="643128" y="62699"/>
                </a:lnTo>
                <a:lnTo>
                  <a:pt x="652222" y="62699"/>
                </a:lnTo>
                <a:lnTo>
                  <a:pt x="652081" y="61696"/>
                </a:lnTo>
                <a:close/>
              </a:path>
              <a:path w="720725" h="70484">
                <a:moveTo>
                  <a:pt x="651018" y="26174"/>
                </a:moveTo>
                <a:lnTo>
                  <a:pt x="642137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8" y="26174"/>
                </a:lnTo>
                <a:close/>
              </a:path>
              <a:path w="720725" h="70484">
                <a:moveTo>
                  <a:pt x="599334" y="26174"/>
                </a:moveTo>
                <a:lnTo>
                  <a:pt x="585647" y="26174"/>
                </a:lnTo>
                <a:lnTo>
                  <a:pt x="588200" y="26796"/>
                </a:lnTo>
                <a:lnTo>
                  <a:pt x="589584" y="28066"/>
                </a:lnTo>
                <a:lnTo>
                  <a:pt x="590994" y="29324"/>
                </a:lnTo>
                <a:lnTo>
                  <a:pt x="591718" y="31483"/>
                </a:lnTo>
                <a:lnTo>
                  <a:pt x="591781" y="38811"/>
                </a:lnTo>
                <a:lnTo>
                  <a:pt x="567334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35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390" y="68681"/>
                </a:lnTo>
                <a:lnTo>
                  <a:pt x="587362" y="65163"/>
                </a:lnTo>
                <a:lnTo>
                  <a:pt x="590257" y="63093"/>
                </a:lnTo>
                <a:lnTo>
                  <a:pt x="590974" y="62356"/>
                </a:lnTo>
                <a:lnTo>
                  <a:pt x="576846" y="62356"/>
                </a:lnTo>
                <a:lnTo>
                  <a:pt x="574268" y="62293"/>
                </a:lnTo>
                <a:lnTo>
                  <a:pt x="571677" y="62293"/>
                </a:lnTo>
                <a:lnTo>
                  <a:pt x="569772" y="61709"/>
                </a:lnTo>
                <a:lnTo>
                  <a:pt x="567309" y="59385"/>
                </a:lnTo>
                <a:lnTo>
                  <a:pt x="566712" y="57543"/>
                </a:lnTo>
                <a:lnTo>
                  <a:pt x="566712" y="47701"/>
                </a:lnTo>
                <a:lnTo>
                  <a:pt x="568833" y="45478"/>
                </a:lnTo>
                <a:lnTo>
                  <a:pt x="573087" y="45275"/>
                </a:lnTo>
                <a:lnTo>
                  <a:pt x="600240" y="45275"/>
                </a:lnTo>
                <a:lnTo>
                  <a:pt x="600240" y="28892"/>
                </a:lnTo>
                <a:lnTo>
                  <a:pt x="599334" y="26174"/>
                </a:lnTo>
                <a:close/>
              </a:path>
              <a:path w="720725" h="70484">
                <a:moveTo>
                  <a:pt x="600240" y="60705"/>
                </a:moveTo>
                <a:lnTo>
                  <a:pt x="592582" y="60705"/>
                </a:lnTo>
                <a:lnTo>
                  <a:pt x="593572" y="68656"/>
                </a:lnTo>
                <a:lnTo>
                  <a:pt x="600240" y="68656"/>
                </a:lnTo>
                <a:lnTo>
                  <a:pt x="600240" y="60705"/>
                </a:lnTo>
                <a:close/>
              </a:path>
              <a:path w="720725" h="70484">
                <a:moveTo>
                  <a:pt x="600240" y="45275"/>
                </a:moveTo>
                <a:lnTo>
                  <a:pt x="591781" y="45275"/>
                </a:lnTo>
                <a:lnTo>
                  <a:pt x="591781" y="55029"/>
                </a:lnTo>
                <a:lnTo>
                  <a:pt x="589064" y="57416"/>
                </a:lnTo>
                <a:lnTo>
                  <a:pt x="586117" y="59245"/>
                </a:lnTo>
                <a:lnTo>
                  <a:pt x="579742" y="61760"/>
                </a:lnTo>
                <a:lnTo>
                  <a:pt x="576846" y="62356"/>
                </a:lnTo>
                <a:lnTo>
                  <a:pt x="590974" y="62356"/>
                </a:lnTo>
                <a:lnTo>
                  <a:pt x="592582" y="60705"/>
                </a:lnTo>
                <a:lnTo>
                  <a:pt x="600240" y="60705"/>
                </a:lnTo>
                <a:lnTo>
                  <a:pt x="600240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088" y="19011"/>
                </a:lnTo>
                <a:lnTo>
                  <a:pt x="569264" y="19735"/>
                </a:lnTo>
                <a:lnTo>
                  <a:pt x="560235" y="21196"/>
                </a:lnTo>
                <a:lnTo>
                  <a:pt x="561035" y="27470"/>
                </a:lnTo>
                <a:lnTo>
                  <a:pt x="570255" y="26606"/>
                </a:lnTo>
                <a:lnTo>
                  <a:pt x="577227" y="26174"/>
                </a:lnTo>
                <a:lnTo>
                  <a:pt x="599334" y="26174"/>
                </a:lnTo>
                <a:lnTo>
                  <a:pt x="598906" y="24891"/>
                </a:lnTo>
                <a:lnTo>
                  <a:pt x="593521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31" y="20205"/>
                </a:lnTo>
                <a:lnTo>
                  <a:pt x="517347" y="21132"/>
                </a:lnTo>
                <a:lnTo>
                  <a:pt x="513359" y="24841"/>
                </a:lnTo>
                <a:lnTo>
                  <a:pt x="512140" y="27698"/>
                </a:lnTo>
                <a:lnTo>
                  <a:pt x="511683" y="31546"/>
                </a:lnTo>
                <a:lnTo>
                  <a:pt x="510413" y="43751"/>
                </a:lnTo>
                <a:lnTo>
                  <a:pt x="508990" y="51879"/>
                </a:lnTo>
                <a:lnTo>
                  <a:pt x="498843" y="62699"/>
                </a:lnTo>
                <a:lnTo>
                  <a:pt x="499732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85" y="29108"/>
                </a:lnTo>
                <a:lnTo>
                  <a:pt x="522363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1" y="26174"/>
                </a:moveTo>
                <a:lnTo>
                  <a:pt x="474789" y="26174"/>
                </a:lnTo>
                <a:lnTo>
                  <a:pt x="477354" y="26796"/>
                </a:lnTo>
                <a:lnTo>
                  <a:pt x="480136" y="29324"/>
                </a:lnTo>
                <a:lnTo>
                  <a:pt x="480860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86" y="39852"/>
                </a:lnTo>
                <a:lnTo>
                  <a:pt x="448475" y="44030"/>
                </a:lnTo>
                <a:lnTo>
                  <a:pt x="447294" y="46964"/>
                </a:lnTo>
                <a:lnTo>
                  <a:pt x="447294" y="60337"/>
                </a:lnTo>
                <a:lnTo>
                  <a:pt x="448589" y="63665"/>
                </a:lnTo>
                <a:lnTo>
                  <a:pt x="453758" y="68376"/>
                </a:lnTo>
                <a:lnTo>
                  <a:pt x="457276" y="69557"/>
                </a:lnTo>
                <a:lnTo>
                  <a:pt x="465759" y="69557"/>
                </a:lnTo>
                <a:lnTo>
                  <a:pt x="469531" y="68681"/>
                </a:lnTo>
                <a:lnTo>
                  <a:pt x="476504" y="65163"/>
                </a:lnTo>
                <a:lnTo>
                  <a:pt x="479412" y="63093"/>
                </a:lnTo>
                <a:lnTo>
                  <a:pt x="480125" y="62356"/>
                </a:lnTo>
                <a:lnTo>
                  <a:pt x="466001" y="62356"/>
                </a:lnTo>
                <a:lnTo>
                  <a:pt x="463423" y="62293"/>
                </a:lnTo>
                <a:lnTo>
                  <a:pt x="460832" y="62293"/>
                </a:lnTo>
                <a:lnTo>
                  <a:pt x="458914" y="61709"/>
                </a:lnTo>
                <a:lnTo>
                  <a:pt x="456463" y="59385"/>
                </a:lnTo>
                <a:lnTo>
                  <a:pt x="455853" y="57543"/>
                </a:lnTo>
                <a:lnTo>
                  <a:pt x="455853" y="47701"/>
                </a:lnTo>
                <a:lnTo>
                  <a:pt x="457974" y="45478"/>
                </a:lnTo>
                <a:lnTo>
                  <a:pt x="462216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1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23" y="60705"/>
                </a:lnTo>
                <a:lnTo>
                  <a:pt x="482714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05" y="57416"/>
                </a:lnTo>
                <a:lnTo>
                  <a:pt x="475246" y="59245"/>
                </a:lnTo>
                <a:lnTo>
                  <a:pt x="468896" y="61760"/>
                </a:lnTo>
                <a:lnTo>
                  <a:pt x="466001" y="62356"/>
                </a:lnTo>
                <a:lnTo>
                  <a:pt x="480125" y="62356"/>
                </a:lnTo>
                <a:lnTo>
                  <a:pt x="481723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497" y="19011"/>
                </a:moveTo>
                <a:lnTo>
                  <a:pt x="466242" y="19011"/>
                </a:lnTo>
                <a:lnTo>
                  <a:pt x="458406" y="19735"/>
                </a:lnTo>
                <a:lnTo>
                  <a:pt x="449376" y="21196"/>
                </a:lnTo>
                <a:lnTo>
                  <a:pt x="450176" y="27470"/>
                </a:lnTo>
                <a:lnTo>
                  <a:pt x="459397" y="26606"/>
                </a:lnTo>
                <a:lnTo>
                  <a:pt x="466369" y="26174"/>
                </a:lnTo>
                <a:lnTo>
                  <a:pt x="488471" y="26174"/>
                </a:lnTo>
                <a:lnTo>
                  <a:pt x="488035" y="24891"/>
                </a:lnTo>
                <a:lnTo>
                  <a:pt x="482663" y="20180"/>
                </a:lnTo>
                <a:lnTo>
                  <a:pt x="478497" y="19011"/>
                </a:lnTo>
                <a:close/>
              </a:path>
              <a:path w="720725" h="70484">
                <a:moveTo>
                  <a:pt x="405003" y="20205"/>
                </a:moveTo>
                <a:lnTo>
                  <a:pt x="396544" y="20205"/>
                </a:lnTo>
                <a:lnTo>
                  <a:pt x="396544" y="68656"/>
                </a:lnTo>
                <a:lnTo>
                  <a:pt x="405003" y="68656"/>
                </a:lnTo>
                <a:lnTo>
                  <a:pt x="404878" y="49060"/>
                </a:lnTo>
                <a:lnTo>
                  <a:pt x="404609" y="46774"/>
                </a:lnTo>
                <a:lnTo>
                  <a:pt x="427291" y="46774"/>
                </a:lnTo>
                <a:lnTo>
                  <a:pt x="418731" y="43586"/>
                </a:lnTo>
                <a:lnTo>
                  <a:pt x="418731" y="43281"/>
                </a:lnTo>
                <a:lnTo>
                  <a:pt x="426626" y="40208"/>
                </a:lnTo>
                <a:lnTo>
                  <a:pt x="404507" y="40208"/>
                </a:lnTo>
                <a:lnTo>
                  <a:pt x="404783" y="38544"/>
                </a:lnTo>
                <a:lnTo>
                  <a:pt x="404903" y="37477"/>
                </a:lnTo>
                <a:lnTo>
                  <a:pt x="405003" y="20205"/>
                </a:lnTo>
                <a:close/>
              </a:path>
              <a:path w="720725" h="70484">
                <a:moveTo>
                  <a:pt x="427291" y="46774"/>
                </a:moveTo>
                <a:lnTo>
                  <a:pt x="413169" y="46774"/>
                </a:lnTo>
                <a:lnTo>
                  <a:pt x="414413" y="46951"/>
                </a:lnTo>
                <a:lnTo>
                  <a:pt x="416674" y="47675"/>
                </a:lnTo>
                <a:lnTo>
                  <a:pt x="429780" y="68656"/>
                </a:lnTo>
                <a:lnTo>
                  <a:pt x="438645" y="68656"/>
                </a:lnTo>
                <a:lnTo>
                  <a:pt x="428586" y="47993"/>
                </a:lnTo>
                <a:lnTo>
                  <a:pt x="427291" y="46774"/>
                </a:lnTo>
                <a:close/>
              </a:path>
              <a:path w="720725" h="70484">
                <a:moveTo>
                  <a:pt x="437248" y="20205"/>
                </a:moveTo>
                <a:lnTo>
                  <a:pt x="428485" y="20205"/>
                </a:lnTo>
                <a:lnTo>
                  <a:pt x="427088" y="24053"/>
                </a:lnTo>
                <a:lnTo>
                  <a:pt x="425970" y="26936"/>
                </a:lnTo>
                <a:lnTo>
                  <a:pt x="413588" y="40208"/>
                </a:lnTo>
                <a:lnTo>
                  <a:pt x="426626" y="40208"/>
                </a:lnTo>
                <a:lnTo>
                  <a:pt x="431330" y="34061"/>
                </a:lnTo>
                <a:lnTo>
                  <a:pt x="432663" y="31699"/>
                </a:lnTo>
                <a:lnTo>
                  <a:pt x="433209" y="30479"/>
                </a:lnTo>
                <a:lnTo>
                  <a:pt x="433920" y="28765"/>
                </a:lnTo>
                <a:lnTo>
                  <a:pt x="435864" y="23926"/>
                </a:lnTo>
                <a:lnTo>
                  <a:pt x="437248" y="20205"/>
                </a:lnTo>
                <a:close/>
              </a:path>
              <a:path w="720725" h="70484">
                <a:moveTo>
                  <a:pt x="310857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07" y="68656"/>
                </a:lnTo>
                <a:lnTo>
                  <a:pt x="308025" y="69062"/>
                </a:lnTo>
                <a:lnTo>
                  <a:pt x="314909" y="69265"/>
                </a:lnTo>
                <a:lnTo>
                  <a:pt x="330034" y="69265"/>
                </a:lnTo>
                <a:lnTo>
                  <a:pt x="334581" y="68186"/>
                </a:lnTo>
                <a:lnTo>
                  <a:pt x="339890" y="63868"/>
                </a:lnTo>
                <a:lnTo>
                  <a:pt x="340317" y="62598"/>
                </a:lnTo>
                <a:lnTo>
                  <a:pt x="322313" y="62598"/>
                </a:lnTo>
                <a:lnTo>
                  <a:pt x="310857" y="62496"/>
                </a:lnTo>
                <a:lnTo>
                  <a:pt x="310857" y="45275"/>
                </a:lnTo>
                <a:lnTo>
                  <a:pt x="340126" y="45275"/>
                </a:lnTo>
                <a:lnTo>
                  <a:pt x="339852" y="44488"/>
                </a:lnTo>
                <a:lnTo>
                  <a:pt x="334416" y="40106"/>
                </a:lnTo>
                <a:lnTo>
                  <a:pt x="329476" y="39001"/>
                </a:lnTo>
                <a:lnTo>
                  <a:pt x="310857" y="39001"/>
                </a:lnTo>
                <a:lnTo>
                  <a:pt x="310857" y="20205"/>
                </a:lnTo>
                <a:close/>
              </a:path>
              <a:path w="720725" h="70484">
                <a:moveTo>
                  <a:pt x="340126" y="45275"/>
                </a:moveTo>
                <a:lnTo>
                  <a:pt x="326288" y="45275"/>
                </a:lnTo>
                <a:lnTo>
                  <a:pt x="329006" y="45885"/>
                </a:lnTo>
                <a:lnTo>
                  <a:pt x="331927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01" y="59689"/>
                </a:lnTo>
                <a:lnTo>
                  <a:pt x="328930" y="62014"/>
                </a:lnTo>
                <a:lnTo>
                  <a:pt x="326224" y="62598"/>
                </a:lnTo>
                <a:lnTo>
                  <a:pt x="340317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2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50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50" y="27165"/>
                </a:lnTo>
                <a:lnTo>
                  <a:pt x="292150" y="20205"/>
                </a:lnTo>
                <a:close/>
              </a:path>
              <a:path w="720725" h="70484">
                <a:moveTo>
                  <a:pt x="237705" y="26174"/>
                </a:moveTo>
                <a:lnTo>
                  <a:pt x="224028" y="26174"/>
                </a:lnTo>
                <a:lnTo>
                  <a:pt x="226568" y="26796"/>
                </a:lnTo>
                <a:lnTo>
                  <a:pt x="229362" y="29324"/>
                </a:lnTo>
                <a:lnTo>
                  <a:pt x="230098" y="31483"/>
                </a:lnTo>
                <a:lnTo>
                  <a:pt x="230162" y="38811"/>
                </a:lnTo>
                <a:lnTo>
                  <a:pt x="205714" y="38811"/>
                </a:lnTo>
                <a:lnTo>
                  <a:pt x="202412" y="39852"/>
                </a:lnTo>
                <a:lnTo>
                  <a:pt x="197700" y="44030"/>
                </a:lnTo>
                <a:lnTo>
                  <a:pt x="196519" y="46964"/>
                </a:lnTo>
                <a:lnTo>
                  <a:pt x="196519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02" y="69557"/>
                </a:lnTo>
                <a:lnTo>
                  <a:pt x="214998" y="69557"/>
                </a:lnTo>
                <a:lnTo>
                  <a:pt x="218770" y="68681"/>
                </a:lnTo>
                <a:lnTo>
                  <a:pt x="225729" y="65163"/>
                </a:lnTo>
                <a:lnTo>
                  <a:pt x="228638" y="63093"/>
                </a:lnTo>
                <a:lnTo>
                  <a:pt x="229355" y="62356"/>
                </a:lnTo>
                <a:lnTo>
                  <a:pt x="215239" y="62356"/>
                </a:lnTo>
                <a:lnTo>
                  <a:pt x="212648" y="62293"/>
                </a:lnTo>
                <a:lnTo>
                  <a:pt x="210070" y="62293"/>
                </a:lnTo>
                <a:lnTo>
                  <a:pt x="208153" y="61709"/>
                </a:lnTo>
                <a:lnTo>
                  <a:pt x="205701" y="59385"/>
                </a:lnTo>
                <a:lnTo>
                  <a:pt x="205092" y="57543"/>
                </a:lnTo>
                <a:lnTo>
                  <a:pt x="205092" y="47701"/>
                </a:lnTo>
                <a:lnTo>
                  <a:pt x="207213" y="45478"/>
                </a:lnTo>
                <a:lnTo>
                  <a:pt x="211455" y="45275"/>
                </a:lnTo>
                <a:lnTo>
                  <a:pt x="238620" y="45275"/>
                </a:lnTo>
                <a:lnTo>
                  <a:pt x="238620" y="28892"/>
                </a:lnTo>
                <a:lnTo>
                  <a:pt x="237705" y="26174"/>
                </a:lnTo>
                <a:close/>
              </a:path>
              <a:path w="720725" h="70484">
                <a:moveTo>
                  <a:pt x="238620" y="60705"/>
                </a:moveTo>
                <a:lnTo>
                  <a:pt x="230962" y="60705"/>
                </a:lnTo>
                <a:lnTo>
                  <a:pt x="231952" y="68656"/>
                </a:lnTo>
                <a:lnTo>
                  <a:pt x="238620" y="68656"/>
                </a:lnTo>
                <a:lnTo>
                  <a:pt x="238620" y="60705"/>
                </a:lnTo>
                <a:close/>
              </a:path>
              <a:path w="720725" h="70484">
                <a:moveTo>
                  <a:pt x="238620" y="45275"/>
                </a:moveTo>
                <a:lnTo>
                  <a:pt x="230162" y="45275"/>
                </a:lnTo>
                <a:lnTo>
                  <a:pt x="230162" y="55029"/>
                </a:lnTo>
                <a:lnTo>
                  <a:pt x="227444" y="57416"/>
                </a:lnTo>
                <a:lnTo>
                  <a:pt x="224485" y="59245"/>
                </a:lnTo>
                <a:lnTo>
                  <a:pt x="218109" y="61760"/>
                </a:lnTo>
                <a:lnTo>
                  <a:pt x="215239" y="62356"/>
                </a:lnTo>
                <a:lnTo>
                  <a:pt x="229355" y="62356"/>
                </a:lnTo>
                <a:lnTo>
                  <a:pt x="230962" y="60705"/>
                </a:lnTo>
                <a:lnTo>
                  <a:pt x="238620" y="60705"/>
                </a:lnTo>
                <a:lnTo>
                  <a:pt x="238620" y="45275"/>
                </a:lnTo>
                <a:close/>
              </a:path>
              <a:path w="720725" h="70484">
                <a:moveTo>
                  <a:pt x="227736" y="19011"/>
                </a:moveTo>
                <a:lnTo>
                  <a:pt x="215468" y="19011"/>
                </a:lnTo>
                <a:lnTo>
                  <a:pt x="207632" y="19735"/>
                </a:lnTo>
                <a:lnTo>
                  <a:pt x="198615" y="21196"/>
                </a:lnTo>
                <a:lnTo>
                  <a:pt x="199415" y="27470"/>
                </a:lnTo>
                <a:lnTo>
                  <a:pt x="208635" y="26606"/>
                </a:lnTo>
                <a:lnTo>
                  <a:pt x="215595" y="26174"/>
                </a:lnTo>
                <a:lnTo>
                  <a:pt x="237705" y="26174"/>
                </a:lnTo>
                <a:lnTo>
                  <a:pt x="237274" y="24891"/>
                </a:lnTo>
                <a:lnTo>
                  <a:pt x="231902" y="20180"/>
                </a:lnTo>
                <a:lnTo>
                  <a:pt x="227736" y="19011"/>
                </a:lnTo>
                <a:close/>
              </a:path>
              <a:path w="720725" h="70484">
                <a:moveTo>
                  <a:pt x="139369" y="20205"/>
                </a:moveTo>
                <a:lnTo>
                  <a:pt x="126771" y="20205"/>
                </a:lnTo>
                <a:lnTo>
                  <a:pt x="125679" y="21259"/>
                </a:lnTo>
                <a:lnTo>
                  <a:pt x="125679" y="23380"/>
                </a:lnTo>
                <a:lnTo>
                  <a:pt x="123685" y="68656"/>
                </a:lnTo>
                <a:lnTo>
                  <a:pt x="131445" y="68656"/>
                </a:lnTo>
                <a:lnTo>
                  <a:pt x="133248" y="26669"/>
                </a:lnTo>
                <a:lnTo>
                  <a:pt x="142323" y="26669"/>
                </a:lnTo>
                <a:lnTo>
                  <a:pt x="140995" y="22986"/>
                </a:lnTo>
                <a:lnTo>
                  <a:pt x="140474" y="21132"/>
                </a:lnTo>
                <a:lnTo>
                  <a:pt x="139369" y="20205"/>
                </a:lnTo>
                <a:close/>
              </a:path>
              <a:path w="720725" h="70484">
                <a:moveTo>
                  <a:pt x="182448" y="26669"/>
                </a:moveTo>
                <a:lnTo>
                  <a:pt x="174637" y="26669"/>
                </a:lnTo>
                <a:lnTo>
                  <a:pt x="176530" y="68656"/>
                </a:lnTo>
                <a:lnTo>
                  <a:pt x="184391" y="68656"/>
                </a:lnTo>
                <a:lnTo>
                  <a:pt x="182448" y="26669"/>
                </a:lnTo>
                <a:close/>
              </a:path>
              <a:path w="720725" h="70484">
                <a:moveTo>
                  <a:pt x="142323" y="26669"/>
                </a:moveTo>
                <a:lnTo>
                  <a:pt x="134937" y="26669"/>
                </a:lnTo>
                <a:lnTo>
                  <a:pt x="147269" y="60604"/>
                </a:lnTo>
                <a:lnTo>
                  <a:pt x="147866" y="62458"/>
                </a:lnTo>
                <a:lnTo>
                  <a:pt x="148996" y="63385"/>
                </a:lnTo>
                <a:lnTo>
                  <a:pt x="158877" y="63385"/>
                </a:lnTo>
                <a:lnTo>
                  <a:pt x="160007" y="62458"/>
                </a:lnTo>
                <a:lnTo>
                  <a:pt x="160604" y="60604"/>
                </a:lnTo>
                <a:lnTo>
                  <a:pt x="161620" y="57810"/>
                </a:lnTo>
                <a:lnTo>
                  <a:pt x="153136" y="57810"/>
                </a:lnTo>
                <a:lnTo>
                  <a:pt x="152412" y="55029"/>
                </a:lnTo>
                <a:lnTo>
                  <a:pt x="151714" y="52704"/>
                </a:lnTo>
                <a:lnTo>
                  <a:pt x="142323" y="26669"/>
                </a:lnTo>
                <a:close/>
              </a:path>
              <a:path w="720725" h="70484">
                <a:moveTo>
                  <a:pt x="181229" y="20205"/>
                </a:moveTo>
                <a:lnTo>
                  <a:pt x="168605" y="20205"/>
                </a:lnTo>
                <a:lnTo>
                  <a:pt x="167474" y="21132"/>
                </a:lnTo>
                <a:lnTo>
                  <a:pt x="166865" y="22986"/>
                </a:lnTo>
                <a:lnTo>
                  <a:pt x="156819" y="50850"/>
                </a:lnTo>
                <a:lnTo>
                  <a:pt x="156362" y="52247"/>
                </a:lnTo>
                <a:lnTo>
                  <a:pt x="155651" y="54559"/>
                </a:lnTo>
                <a:lnTo>
                  <a:pt x="154736" y="57810"/>
                </a:lnTo>
                <a:lnTo>
                  <a:pt x="161620" y="57810"/>
                </a:lnTo>
                <a:lnTo>
                  <a:pt x="172948" y="26669"/>
                </a:lnTo>
                <a:lnTo>
                  <a:pt x="182448" y="26669"/>
                </a:lnTo>
                <a:lnTo>
                  <a:pt x="182295" y="23380"/>
                </a:lnTo>
                <a:lnTo>
                  <a:pt x="182295" y="21259"/>
                </a:lnTo>
                <a:lnTo>
                  <a:pt x="181229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77" y="20205"/>
                </a:lnTo>
                <a:lnTo>
                  <a:pt x="81292" y="21132"/>
                </a:lnTo>
                <a:lnTo>
                  <a:pt x="77304" y="24841"/>
                </a:lnTo>
                <a:lnTo>
                  <a:pt x="76085" y="27698"/>
                </a:lnTo>
                <a:lnTo>
                  <a:pt x="75628" y="31546"/>
                </a:lnTo>
                <a:lnTo>
                  <a:pt x="74358" y="43751"/>
                </a:lnTo>
                <a:lnTo>
                  <a:pt x="72936" y="51879"/>
                </a:lnTo>
                <a:lnTo>
                  <a:pt x="62788" y="62699"/>
                </a:lnTo>
                <a:lnTo>
                  <a:pt x="63677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09" y="27317"/>
                </a:lnTo>
                <a:lnTo>
                  <a:pt x="87795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83" y="0"/>
                </a:lnTo>
                <a:lnTo>
                  <a:pt x="22479" y="800"/>
                </a:lnTo>
                <a:lnTo>
                  <a:pt x="22085" y="2387"/>
                </a:lnTo>
                <a:lnTo>
                  <a:pt x="0" y="68656"/>
                </a:lnTo>
                <a:lnTo>
                  <a:pt x="9042" y="68656"/>
                </a:lnTo>
                <a:lnTo>
                  <a:pt x="15824" y="47167"/>
                </a:lnTo>
                <a:lnTo>
                  <a:pt x="52731" y="47167"/>
                </a:lnTo>
                <a:lnTo>
                  <a:pt x="50213" y="39611"/>
                </a:lnTo>
                <a:lnTo>
                  <a:pt x="18199" y="39611"/>
                </a:lnTo>
                <a:lnTo>
                  <a:pt x="26860" y="12344"/>
                </a:lnTo>
                <a:lnTo>
                  <a:pt x="28562" y="6769"/>
                </a:lnTo>
                <a:lnTo>
                  <a:pt x="39268" y="6769"/>
                </a:lnTo>
                <a:lnTo>
                  <a:pt x="37807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31" y="47167"/>
                </a:moveTo>
                <a:lnTo>
                  <a:pt x="44069" y="47167"/>
                </a:lnTo>
                <a:lnTo>
                  <a:pt x="50850" y="68656"/>
                </a:lnTo>
                <a:lnTo>
                  <a:pt x="59893" y="68656"/>
                </a:lnTo>
                <a:lnTo>
                  <a:pt x="52731" y="47167"/>
                </a:lnTo>
                <a:close/>
              </a:path>
              <a:path w="720725" h="70484">
                <a:moveTo>
                  <a:pt x="39268" y="6769"/>
                </a:moveTo>
                <a:lnTo>
                  <a:pt x="31330" y="6769"/>
                </a:lnTo>
                <a:lnTo>
                  <a:pt x="31864" y="8762"/>
                </a:lnTo>
                <a:lnTo>
                  <a:pt x="32435" y="10617"/>
                </a:lnTo>
                <a:lnTo>
                  <a:pt x="33032" y="12344"/>
                </a:lnTo>
                <a:lnTo>
                  <a:pt x="41694" y="39611"/>
                </a:lnTo>
                <a:lnTo>
                  <a:pt x="50213" y="39611"/>
                </a:lnTo>
                <a:lnTo>
                  <a:pt x="39268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0" name="object 4"/>
          <p:cNvSpPr/>
          <p:nvPr/>
        </p:nvSpPr>
        <p:spPr>
          <a:xfrm>
            <a:off x="940517" y="7104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14" y="20802"/>
                </a:lnTo>
                <a:lnTo>
                  <a:pt x="507314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6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8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74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8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62" y="51193"/>
                </a:lnTo>
                <a:lnTo>
                  <a:pt x="537362" y="57950"/>
                </a:lnTo>
                <a:lnTo>
                  <a:pt x="536600" y="60286"/>
                </a:lnTo>
                <a:lnTo>
                  <a:pt x="533628" y="62611"/>
                </a:lnTo>
                <a:lnTo>
                  <a:pt x="530923" y="63195"/>
                </a:lnTo>
                <a:lnTo>
                  <a:pt x="545016" y="63195"/>
                </a:lnTo>
                <a:lnTo>
                  <a:pt x="545922" y="60502"/>
                </a:lnTo>
                <a:lnTo>
                  <a:pt x="545891" y="48945"/>
                </a:lnTo>
                <a:lnTo>
                  <a:pt x="544828" y="45885"/>
                </a:lnTo>
                <a:close/>
              </a:path>
              <a:path w="563880" h="89534">
                <a:moveTo>
                  <a:pt x="563333" y="20802"/>
                </a:moveTo>
                <a:lnTo>
                  <a:pt x="554774" y="20802"/>
                </a:lnTo>
                <a:lnTo>
                  <a:pt x="554774" y="69265"/>
                </a:lnTo>
                <a:lnTo>
                  <a:pt x="563333" y="69265"/>
                </a:lnTo>
                <a:lnTo>
                  <a:pt x="563333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87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1238" y="6473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55" y="69634"/>
                </a:lnTo>
                <a:lnTo>
                  <a:pt x="495566" y="67970"/>
                </a:lnTo>
                <a:lnTo>
                  <a:pt x="494906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64" y="33235"/>
                </a:lnTo>
                <a:lnTo>
                  <a:pt x="470636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6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2003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301" y="68973"/>
                </a:lnTo>
                <a:lnTo>
                  <a:pt x="410806" y="70154"/>
                </a:lnTo>
                <a:lnTo>
                  <a:pt x="419303" y="70154"/>
                </a:lnTo>
                <a:lnTo>
                  <a:pt x="423100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57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59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2003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57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90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41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20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2003" y="26771"/>
                </a:lnTo>
                <a:lnTo>
                  <a:pt x="441578" y="25501"/>
                </a:lnTo>
                <a:lnTo>
                  <a:pt x="436206" y="20777"/>
                </a:lnTo>
                <a:lnTo>
                  <a:pt x="432041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76" y="20802"/>
                </a:lnTo>
                <a:lnTo>
                  <a:pt x="329984" y="21856"/>
                </a:lnTo>
                <a:lnTo>
                  <a:pt x="329984" y="23977"/>
                </a:lnTo>
                <a:lnTo>
                  <a:pt x="327977" y="69265"/>
                </a:lnTo>
                <a:lnTo>
                  <a:pt x="335749" y="69265"/>
                </a:lnTo>
                <a:lnTo>
                  <a:pt x="337527" y="27266"/>
                </a:lnTo>
                <a:lnTo>
                  <a:pt x="346629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51" y="27266"/>
                </a:moveTo>
                <a:lnTo>
                  <a:pt x="378929" y="27266"/>
                </a:lnTo>
                <a:lnTo>
                  <a:pt x="380834" y="69265"/>
                </a:lnTo>
                <a:lnTo>
                  <a:pt x="388683" y="69265"/>
                </a:lnTo>
                <a:lnTo>
                  <a:pt x="386751" y="27266"/>
                </a:lnTo>
                <a:close/>
              </a:path>
              <a:path w="563880" h="89534">
                <a:moveTo>
                  <a:pt x="346629" y="27266"/>
                </a:moveTo>
                <a:lnTo>
                  <a:pt x="339229" y="27266"/>
                </a:lnTo>
                <a:lnTo>
                  <a:pt x="351574" y="61201"/>
                </a:lnTo>
                <a:lnTo>
                  <a:pt x="352170" y="63068"/>
                </a:lnTo>
                <a:lnTo>
                  <a:pt x="353301" y="63982"/>
                </a:lnTo>
                <a:lnTo>
                  <a:pt x="363181" y="63982"/>
                </a:lnTo>
                <a:lnTo>
                  <a:pt x="364312" y="63068"/>
                </a:lnTo>
                <a:lnTo>
                  <a:pt x="364909" y="61201"/>
                </a:lnTo>
                <a:lnTo>
                  <a:pt x="365919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55358" y="51447"/>
                </a:lnTo>
                <a:lnTo>
                  <a:pt x="346629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24" y="51447"/>
                </a:lnTo>
                <a:lnTo>
                  <a:pt x="360667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19" y="58420"/>
                </a:lnTo>
                <a:lnTo>
                  <a:pt x="377240" y="27266"/>
                </a:lnTo>
                <a:lnTo>
                  <a:pt x="386751" y="27266"/>
                </a:lnTo>
                <a:lnTo>
                  <a:pt x="386600" y="23977"/>
                </a:lnTo>
                <a:lnTo>
                  <a:pt x="386600" y="21856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34" y="65481"/>
                </a:lnTo>
                <a:lnTo>
                  <a:pt x="310500" y="65481"/>
                </a:lnTo>
                <a:lnTo>
                  <a:pt x="312323" y="63093"/>
                </a:lnTo>
                <a:lnTo>
                  <a:pt x="291376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67" y="29464"/>
                </a:lnTo>
                <a:lnTo>
                  <a:pt x="288068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500" y="65481"/>
                </a:moveTo>
                <a:lnTo>
                  <a:pt x="279234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52" y="68554"/>
                </a:lnTo>
                <a:lnTo>
                  <a:pt x="310500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97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23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71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8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71" y="19608"/>
                </a:lnTo>
                <a:close/>
              </a:path>
              <a:path w="563880" h="89534">
                <a:moveTo>
                  <a:pt x="254627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91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43" y="39408"/>
                </a:lnTo>
                <a:lnTo>
                  <a:pt x="219341" y="40449"/>
                </a:lnTo>
                <a:lnTo>
                  <a:pt x="214629" y="44627"/>
                </a:lnTo>
                <a:lnTo>
                  <a:pt x="213448" y="47574"/>
                </a:lnTo>
                <a:lnTo>
                  <a:pt x="213448" y="60934"/>
                </a:lnTo>
                <a:lnTo>
                  <a:pt x="214731" y="64274"/>
                </a:lnTo>
                <a:lnTo>
                  <a:pt x="219925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58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84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27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65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44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24" y="26771"/>
                </a:lnTo>
                <a:lnTo>
                  <a:pt x="254627" y="26771"/>
                </a:lnTo>
                <a:lnTo>
                  <a:pt x="254203" y="25501"/>
                </a:lnTo>
                <a:lnTo>
                  <a:pt x="248818" y="20777"/>
                </a:lnTo>
                <a:lnTo>
                  <a:pt x="244665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64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6" y="40805"/>
                </a:lnTo>
                <a:lnTo>
                  <a:pt x="170662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41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403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55" y="40805"/>
                </a:lnTo>
                <a:lnTo>
                  <a:pt x="192786" y="40805"/>
                </a:lnTo>
                <a:lnTo>
                  <a:pt x="193852" y="39789"/>
                </a:lnTo>
                <a:lnTo>
                  <a:pt x="195579" y="38087"/>
                </a:lnTo>
                <a:lnTo>
                  <a:pt x="196176" y="37185"/>
                </a:lnTo>
                <a:lnTo>
                  <a:pt x="196824" y="35928"/>
                </a:lnTo>
                <a:lnTo>
                  <a:pt x="198018" y="33693"/>
                </a:lnTo>
                <a:lnTo>
                  <a:pt x="198831" y="32296"/>
                </a:lnTo>
                <a:lnTo>
                  <a:pt x="199377" y="31076"/>
                </a:lnTo>
                <a:lnTo>
                  <a:pt x="201650" y="25425"/>
                </a:lnTo>
                <a:lnTo>
                  <a:pt x="202031" y="24536"/>
                </a:lnTo>
                <a:lnTo>
                  <a:pt x="203403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53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90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90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71" y="27368"/>
                </a:lnTo>
                <a:lnTo>
                  <a:pt x="149090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65" y="29921"/>
                </a:lnTo>
                <a:lnTo>
                  <a:pt x="89801" y="32080"/>
                </a:lnTo>
                <a:lnTo>
                  <a:pt x="89852" y="39408"/>
                </a:lnTo>
                <a:lnTo>
                  <a:pt x="65417" y="39408"/>
                </a:lnTo>
                <a:lnTo>
                  <a:pt x="62115" y="40449"/>
                </a:lnTo>
                <a:lnTo>
                  <a:pt x="57403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32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51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47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18" y="28067"/>
                </a:lnTo>
                <a:lnTo>
                  <a:pt x="68325" y="27203"/>
                </a:lnTo>
                <a:lnTo>
                  <a:pt x="75298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203" y="69265"/>
                </a:lnTo>
                <a:lnTo>
                  <a:pt x="6756" y="69862"/>
                </a:lnTo>
                <a:lnTo>
                  <a:pt x="13970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77" y="62560"/>
                </a:lnTo>
                <a:lnTo>
                  <a:pt x="8762" y="62496"/>
                </a:lnTo>
                <a:lnTo>
                  <a:pt x="8762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62" y="30149"/>
                </a:lnTo>
                <a:lnTo>
                  <a:pt x="8762" y="7861"/>
                </a:lnTo>
                <a:lnTo>
                  <a:pt x="41389" y="7861"/>
                </a:lnTo>
                <a:lnTo>
                  <a:pt x="42202" y="596"/>
                </a:lnTo>
                <a:lnTo>
                  <a:pt x="35229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61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61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2" name="object 5"/>
          <p:cNvSpPr/>
          <p:nvPr/>
        </p:nvSpPr>
        <p:spPr>
          <a:xfrm>
            <a:off x="939193" y="545367"/>
            <a:ext cx="1039495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52" y="103365"/>
                </a:lnTo>
                <a:lnTo>
                  <a:pt x="984504" y="105181"/>
                </a:lnTo>
                <a:lnTo>
                  <a:pt x="992517" y="105181"/>
                </a:lnTo>
                <a:lnTo>
                  <a:pt x="990206" y="110883"/>
                </a:lnTo>
                <a:lnTo>
                  <a:pt x="987107" y="114896"/>
                </a:lnTo>
                <a:lnTo>
                  <a:pt x="983195" y="117195"/>
                </a:lnTo>
                <a:lnTo>
                  <a:pt x="979398" y="119494"/>
                </a:lnTo>
                <a:lnTo>
                  <a:pt x="972934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40" y="127550"/>
                </a:lnTo>
                <a:lnTo>
                  <a:pt x="1004644" y="121813"/>
                </a:lnTo>
                <a:lnTo>
                  <a:pt x="1005484" y="120497"/>
                </a:lnTo>
                <a:lnTo>
                  <a:pt x="972934" y="120497"/>
                </a:lnTo>
                <a:lnTo>
                  <a:pt x="963815" y="120205"/>
                </a:lnTo>
                <a:lnTo>
                  <a:pt x="1005670" y="120205"/>
                </a:lnTo>
                <a:lnTo>
                  <a:pt x="1009179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21" y="90144"/>
                </a:lnTo>
                <a:lnTo>
                  <a:pt x="996327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34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60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712" y="133718"/>
                </a:lnTo>
                <a:lnTo>
                  <a:pt x="897712" y="115836"/>
                </a:lnTo>
                <a:lnTo>
                  <a:pt x="897691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712" y="87591"/>
                </a:lnTo>
                <a:lnTo>
                  <a:pt x="897712" y="53644"/>
                </a:lnTo>
                <a:lnTo>
                  <a:pt x="904913" y="48933"/>
                </a:lnTo>
                <a:lnTo>
                  <a:pt x="911034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60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4" y="103068"/>
                </a:lnTo>
                <a:lnTo>
                  <a:pt x="908335" y="105322"/>
                </a:lnTo>
                <a:lnTo>
                  <a:pt x="914864" y="106674"/>
                </a:lnTo>
                <a:lnTo>
                  <a:pt x="922045" y="107124"/>
                </a:lnTo>
                <a:lnTo>
                  <a:pt x="931773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612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93" y="105181"/>
                </a:lnTo>
                <a:lnTo>
                  <a:pt x="766213" y="105572"/>
                </a:lnTo>
                <a:lnTo>
                  <a:pt x="774511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64" y="106070"/>
                </a:lnTo>
                <a:lnTo>
                  <a:pt x="813473" y="104305"/>
                </a:lnTo>
                <a:lnTo>
                  <a:pt x="822693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8" y="70777"/>
                </a:lnTo>
                <a:lnTo>
                  <a:pt x="822591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8" y="70777"/>
                </a:moveTo>
                <a:lnTo>
                  <a:pt x="795642" y="70777"/>
                </a:lnTo>
                <a:lnTo>
                  <a:pt x="798728" y="71424"/>
                </a:lnTo>
                <a:lnTo>
                  <a:pt x="801827" y="74028"/>
                </a:lnTo>
                <a:lnTo>
                  <a:pt x="802614" y="76631"/>
                </a:lnTo>
                <a:lnTo>
                  <a:pt x="802614" y="84645"/>
                </a:lnTo>
                <a:lnTo>
                  <a:pt x="801827" y="87325"/>
                </a:lnTo>
                <a:lnTo>
                  <a:pt x="798728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8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50" y="126352"/>
                </a:lnTo>
                <a:lnTo>
                  <a:pt x="673849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80" y="70734"/>
                </a:lnTo>
                <a:lnTo>
                  <a:pt x="670138" y="80381"/>
                </a:lnTo>
                <a:lnTo>
                  <a:pt x="667092" y="89255"/>
                </a:lnTo>
                <a:lnTo>
                  <a:pt x="686625" y="89255"/>
                </a:lnTo>
                <a:lnTo>
                  <a:pt x="696290" y="48488"/>
                </a:lnTo>
                <a:lnTo>
                  <a:pt x="698792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41" y="31102"/>
                </a:lnTo>
                <a:lnTo>
                  <a:pt x="573341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34" y="106984"/>
                </a:lnTo>
                <a:lnTo>
                  <a:pt x="515690" y="106166"/>
                </a:lnTo>
                <a:lnTo>
                  <a:pt x="522892" y="103711"/>
                </a:lnTo>
                <a:lnTo>
                  <a:pt x="529439" y="99623"/>
                </a:lnTo>
                <a:lnTo>
                  <a:pt x="535330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30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15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68" y="28994"/>
                </a:lnTo>
                <a:lnTo>
                  <a:pt x="516527" y="29220"/>
                </a:lnTo>
                <a:lnTo>
                  <a:pt x="506999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56" y="47637"/>
                </a:lnTo>
                <a:lnTo>
                  <a:pt x="498570" y="47104"/>
                </a:lnTo>
                <a:lnTo>
                  <a:pt x="506815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80" y="39141"/>
                </a:lnTo>
                <a:lnTo>
                  <a:pt x="543267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6" y="82222"/>
                </a:lnTo>
                <a:lnTo>
                  <a:pt x="428955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63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52" y="133718"/>
                </a:lnTo>
                <a:lnTo>
                  <a:pt x="331152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30" y="99910"/>
                </a:lnTo>
                <a:lnTo>
                  <a:pt x="376961" y="98640"/>
                </a:lnTo>
                <a:lnTo>
                  <a:pt x="379987" y="93590"/>
                </a:lnTo>
                <a:lnTo>
                  <a:pt x="380959" y="90601"/>
                </a:lnTo>
                <a:lnTo>
                  <a:pt x="344563" y="90601"/>
                </a:lnTo>
                <a:lnTo>
                  <a:pt x="338963" y="89598"/>
                </a:lnTo>
                <a:lnTo>
                  <a:pt x="331152" y="87591"/>
                </a:lnTo>
                <a:lnTo>
                  <a:pt x="331152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75" y="46583"/>
                </a:lnTo>
                <a:lnTo>
                  <a:pt x="378562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30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64" y="104305"/>
                </a:lnTo>
                <a:lnTo>
                  <a:pt x="375930" y="99910"/>
                </a:lnTo>
                <a:close/>
              </a:path>
              <a:path w="1039494" h="136525">
                <a:moveTo>
                  <a:pt x="380375" y="46583"/>
                </a:moveTo>
                <a:lnTo>
                  <a:pt x="353783" y="46583"/>
                </a:lnTo>
                <a:lnTo>
                  <a:pt x="356781" y="48107"/>
                </a:lnTo>
                <a:lnTo>
                  <a:pt x="360197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21" y="83591"/>
                </a:lnTo>
                <a:lnTo>
                  <a:pt x="356412" y="89204"/>
                </a:lnTo>
                <a:lnTo>
                  <a:pt x="352971" y="90601"/>
                </a:lnTo>
                <a:lnTo>
                  <a:pt x="380959" y="90601"/>
                </a:lnTo>
                <a:lnTo>
                  <a:pt x="382150" y="86936"/>
                </a:lnTo>
                <a:lnTo>
                  <a:pt x="383449" y="78679"/>
                </a:lnTo>
                <a:lnTo>
                  <a:pt x="383882" y="68821"/>
                </a:lnTo>
                <a:lnTo>
                  <a:pt x="382275" y="51469"/>
                </a:lnTo>
                <a:lnTo>
                  <a:pt x="380375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52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62" y="41922"/>
                </a:lnTo>
                <a:lnTo>
                  <a:pt x="377455" y="39074"/>
                </a:lnTo>
                <a:lnTo>
                  <a:pt x="369422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26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26" y="133718"/>
                </a:lnTo>
                <a:lnTo>
                  <a:pt x="253326" y="106680"/>
                </a:lnTo>
                <a:lnTo>
                  <a:pt x="263363" y="105467"/>
                </a:lnTo>
                <a:lnTo>
                  <a:pt x="288522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14" y="45377"/>
                </a:lnTo>
                <a:lnTo>
                  <a:pt x="288236" y="44980"/>
                </a:lnTo>
                <a:lnTo>
                  <a:pt x="253326" y="29298"/>
                </a:lnTo>
                <a:lnTo>
                  <a:pt x="253326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14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27" y="54686"/>
                </a:lnTo>
                <a:lnTo>
                  <a:pt x="272249" y="60299"/>
                </a:lnTo>
                <a:lnTo>
                  <a:pt x="272249" y="76034"/>
                </a:lnTo>
                <a:lnTo>
                  <a:pt x="270827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22" y="90601"/>
                </a:lnTo>
                <a:lnTo>
                  <a:pt x="291125" y="84855"/>
                </a:lnTo>
                <a:lnTo>
                  <a:pt x="292856" y="77182"/>
                </a:lnTo>
                <a:lnTo>
                  <a:pt x="293433" y="68211"/>
                </a:lnTo>
                <a:lnTo>
                  <a:pt x="292856" y="59172"/>
                </a:lnTo>
                <a:lnTo>
                  <a:pt x="291125" y="51428"/>
                </a:lnTo>
                <a:lnTo>
                  <a:pt x="288414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38" y="31102"/>
                </a:lnTo>
                <a:lnTo>
                  <a:pt x="105638" y="105181"/>
                </a:lnTo>
                <a:lnTo>
                  <a:pt x="124561" y="105181"/>
                </a:lnTo>
                <a:lnTo>
                  <a:pt x="141243" y="81584"/>
                </a:lnTo>
                <a:lnTo>
                  <a:pt x="124561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43" y="81584"/>
                </a:lnTo>
                <a:lnTo>
                  <a:pt x="155105" y="61950"/>
                </a:lnTo>
                <a:lnTo>
                  <a:pt x="156972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403" y="1498"/>
                </a:lnTo>
                <a:lnTo>
                  <a:pt x="57403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8139E1-CABC-436F-84C2-B3ECFE24D7D9}"/>
              </a:ext>
            </a:extLst>
          </p:cNvPr>
          <p:cNvSpPr/>
          <p:nvPr/>
        </p:nvSpPr>
        <p:spPr>
          <a:xfrm>
            <a:off x="528687" y="1114455"/>
            <a:ext cx="549111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err="1">
                <a:latin typeface="Century Gothic" panose="020B0502020202020204" pitchFamily="34" charset="0"/>
              </a:rPr>
              <a:t>Аяқталды</a:t>
            </a:r>
            <a:r>
              <a:rPr lang="ru-RU" sz="1600" b="1" dirty="0">
                <a:latin typeface="Century Gothic" panose="020B0502020202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Century Gothic" panose="020B0502020202020204" pitchFamily="34" charset="0"/>
              </a:rPr>
              <a:t>«Алматы </a:t>
            </a:r>
            <a:r>
              <a:rPr lang="ru-RU" sz="1600" dirty="0" err="1">
                <a:latin typeface="Century Gothic" panose="020B0502020202020204" pitchFamily="34" charset="0"/>
              </a:rPr>
              <a:t>қалас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коммуналдық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ызметтерді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ұтынушылардың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дербес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шоттағ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санын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үзет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жүргіз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регламенті</a:t>
            </a:r>
            <a:r>
              <a:rPr lang="ru-RU" sz="1600" dirty="0">
                <a:latin typeface="Century Gothic" panose="020B0502020202020204" pitchFamily="34" charset="0"/>
              </a:rPr>
              <a:t>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latin typeface="Century Gothic" panose="020B050202020202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ru-RU" sz="1600" dirty="0" err="1">
                <a:latin typeface="Century Gothic" panose="020B0502020202020204" pitchFamily="34" charset="0"/>
              </a:rPr>
              <a:t>Алма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Бостандық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ауданы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пилотты</a:t>
            </a:r>
            <a:r>
              <a:rPr lang="kk-KZ" sz="1600" dirty="0">
                <a:latin typeface="Century Gothic" panose="020B0502020202020204" pitchFamily="34" charset="0"/>
              </a:rPr>
              <a:t>қ жоба</a:t>
            </a:r>
            <a:r>
              <a:rPr lang="ru-RU" sz="1600" dirty="0">
                <a:latin typeface="Century Gothic" panose="020B0502020202020204" pitchFamily="34" charset="0"/>
              </a:rPr>
              <a:t>: </a:t>
            </a:r>
            <a:r>
              <a:rPr lang="ru-RU" sz="1600" dirty="0" err="1">
                <a:latin typeface="Century Gothic" panose="020B0502020202020204" pitchFamily="34" charset="0"/>
              </a:rPr>
              <a:t>ауданның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әлеуметтік</a:t>
            </a:r>
            <a:r>
              <a:rPr lang="ru-RU" sz="1600" dirty="0">
                <a:latin typeface="Century Gothic" panose="020B0502020202020204" pitchFamily="34" charset="0"/>
              </a:rPr>
              <a:t>, </a:t>
            </a:r>
            <a:r>
              <a:rPr lang="ru-RU" sz="1600" dirty="0" err="1">
                <a:latin typeface="Century Gothic" panose="020B0502020202020204" pitchFamily="34" charset="0"/>
              </a:rPr>
              <a:t>мәдени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объектілерге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ажеттілігі</a:t>
            </a:r>
            <a:r>
              <a:rPr lang="ru-RU" sz="1600" dirty="0">
                <a:latin typeface="Century Gothic" panose="020B0502020202020204" pitchFamily="34" charset="0"/>
              </a:rPr>
              <a:t> 5-10 </a:t>
            </a:r>
            <a:r>
              <a:rPr lang="ru-RU" sz="1600" dirty="0" err="1">
                <a:latin typeface="Century Gothic" panose="020B0502020202020204" pitchFamily="34" charset="0"/>
              </a:rPr>
              <a:t>жылғ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анықталады</a:t>
            </a:r>
            <a:r>
              <a:rPr lang="ru-RU" sz="1600" dirty="0">
                <a:latin typeface="Century Gothic" panose="020B0502020202020204" pitchFamily="34" charset="0"/>
              </a:rPr>
              <a:t>.</a:t>
            </a:r>
          </a:p>
          <a:p>
            <a:endParaRPr lang="ru-RU" sz="1600" dirty="0">
              <a:latin typeface="Century Gothic" panose="020B0502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>
                <a:latin typeface="Century Gothic" panose="020B0502020202020204" pitchFamily="34" charset="0"/>
              </a:rPr>
              <a:t>Ұлттық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Банкпен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бірге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пилоттық</a:t>
            </a:r>
            <a:r>
              <a:rPr lang="ru-RU" sz="1600" b="1" dirty="0">
                <a:latin typeface="Century Gothic" panose="020B0502020202020204" pitchFamily="34" charset="0"/>
              </a:rPr>
              <a:t> </a:t>
            </a:r>
            <a:r>
              <a:rPr lang="ru-RU" sz="1600" b="1" dirty="0" err="1">
                <a:latin typeface="Century Gothic" panose="020B0502020202020204" pitchFamily="34" charset="0"/>
              </a:rPr>
              <a:t>жоба</a:t>
            </a:r>
            <a:r>
              <a:rPr lang="ru-RU" sz="1600" b="1" dirty="0">
                <a:latin typeface="Century Gothic" panose="020B0502020202020204" pitchFamily="34" charset="0"/>
              </a:rPr>
              <a:t>: </a:t>
            </a:r>
            <a:r>
              <a:rPr lang="ru-RU" sz="1600" dirty="0">
                <a:latin typeface="Century Gothic" panose="020B0502020202020204" pitchFamily="34" charset="0"/>
              </a:rPr>
              <a:t>АШТӨ </a:t>
            </a:r>
            <a:r>
              <a:rPr lang="ru-RU" sz="1600" dirty="0" err="1">
                <a:latin typeface="Century Gothic" panose="020B0502020202020204" pitchFamily="34" charset="0"/>
              </a:rPr>
              <a:t>бағалары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адағалау</a:t>
            </a:r>
            <a:r>
              <a:rPr lang="ru-RU" sz="1600" dirty="0">
                <a:latin typeface="Century Gothic" panose="020B0502020202020204" pitchFamily="34" charset="0"/>
              </a:rPr>
              <a:t>, </a:t>
            </a:r>
            <a:r>
              <a:rPr lang="ru-RU" sz="1600" dirty="0" err="1">
                <a:latin typeface="Century Gothic" panose="020B0502020202020204" pitchFamily="34" charset="0"/>
              </a:rPr>
              <a:t>кәсіпорындардың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экономикалық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белсенді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емес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бинттері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айқындау</a:t>
            </a:r>
            <a:r>
              <a:rPr lang="ru-RU" sz="1600" dirty="0">
                <a:latin typeface="Century Gothic" panose="020B0502020202020204" pitchFamily="34" charset="0"/>
              </a:rPr>
              <a:t>, ШОБ </a:t>
            </a:r>
            <a:r>
              <a:rPr lang="ru-RU" sz="1600" dirty="0" err="1">
                <a:latin typeface="Century Gothic" panose="020B0502020202020204" pitchFamily="34" charset="0"/>
              </a:rPr>
              <a:t>дамытуға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арналға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мемлекеттік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қолдау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шараларының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иімділігін</a:t>
            </a:r>
            <a:r>
              <a:rPr lang="ru-RU" sz="1600" dirty="0">
                <a:latin typeface="Century Gothic" panose="020B0502020202020204" pitchFamily="34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</a:rPr>
              <a:t>талдау</a:t>
            </a:r>
            <a:r>
              <a:rPr lang="ru-RU" sz="1600" dirty="0">
                <a:latin typeface="Century Gothic" panose="020B0502020202020204" pitchFamily="34" charset="0"/>
              </a:rPr>
              <a:t>.</a:t>
            </a:r>
            <a:endParaRPr lang="ru-RU" sz="1600" b="1" dirty="0">
              <a:latin typeface="Century Gothic" panose="020B050202020202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endParaRPr lang="ru-RU" sz="1600" b="1" dirty="0">
              <a:latin typeface="Century Gothic" panose="020B0502020202020204" pitchFamily="34" charset="0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A95EC5D3-06CF-4D3D-8D5D-D1B05B67D1DC}"/>
              </a:ext>
            </a:extLst>
          </p:cNvPr>
          <p:cNvCxnSpPr/>
          <p:nvPr/>
        </p:nvCxnSpPr>
        <p:spPr>
          <a:xfrm>
            <a:off x="5999018" y="1371600"/>
            <a:ext cx="0" cy="477591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94341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533402" y="230497"/>
            <a:ext cx="1622351" cy="500489"/>
            <a:chOff x="776751" y="158334"/>
            <a:chExt cx="1622351" cy="500489"/>
          </a:xfrm>
        </p:grpSpPr>
        <p:sp>
          <p:nvSpPr>
            <p:cNvPr id="5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6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7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8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sz="1400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263353" y="1001683"/>
            <a:ext cx="5400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B4DE3F2-A593-4145-B9B8-384C0E6FC39B}"/>
              </a:ext>
            </a:extLst>
          </p:cNvPr>
          <p:cNvSpPr/>
          <p:nvPr/>
        </p:nvSpPr>
        <p:spPr>
          <a:xfrm>
            <a:off x="332674" y="1620773"/>
            <a:ext cx="540059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АҚДМ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бағалау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үшін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АҚ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ашықтығ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бойынша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есеп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жасалд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. 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(</a:t>
            </a:r>
            <a:r>
              <a:rPr lang="ru-RU" sz="1400" b="1" dirty="0" err="1">
                <a:latin typeface="Century Gothic" panose="020B0502020202020204" pitchFamily="34" charset="0"/>
                <a:cs typeface="Times New Roman" pitchFamily="18" charset="0"/>
              </a:rPr>
              <a:t>қорытынды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 балл 75,7, </a:t>
            </a:r>
            <a:r>
              <a:rPr lang="ru-RU" sz="1400" b="1" dirty="0" err="1">
                <a:latin typeface="Century Gothic" panose="020B0502020202020204" pitchFamily="34" charset="0"/>
                <a:cs typeface="Times New Roman" pitchFamily="18" charset="0"/>
              </a:rPr>
              <a:t>ашық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cs typeface="Times New Roman" pitchFamily="18" charset="0"/>
              </a:rPr>
              <a:t>деректер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cs typeface="Times New Roman" pitchFamily="18" charset="0"/>
              </a:rPr>
              <a:t>бойынша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  <a:cs typeface="Times New Roman" pitchFamily="18" charset="0"/>
              </a:rPr>
              <a:t>мүмкін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 18 </a:t>
            </a:r>
            <a:r>
              <a:rPr lang="ru-RU" sz="1400" b="1" dirty="0" err="1">
                <a:latin typeface="Century Gothic" panose="020B0502020202020204" pitchFamily="34" charset="0"/>
                <a:cs typeface="Times New Roman" pitchFamily="18" charset="0"/>
              </a:rPr>
              <a:t>балдан</a:t>
            </a:r>
            <a:r>
              <a:rPr lang="ru-RU" sz="1400" b="1" dirty="0">
                <a:latin typeface="Century Gothic" panose="020B0502020202020204" pitchFamily="34" charset="0"/>
                <a:cs typeface="Times New Roman" pitchFamily="18" charset="0"/>
              </a:rPr>
              <a:t> 17,3 балл).</a:t>
            </a:r>
          </a:p>
          <a:p>
            <a:pPr marL="342900" indent="-342900" algn="just">
              <a:buAutoNum type="arabicPeriod"/>
            </a:pP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«ҰАТ» АҚ-мен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бірлесіп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жауапт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қызметкерлері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үшін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тренинг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өткізілді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.</a:t>
            </a:r>
            <a:endParaRPr lang="aa-ET" sz="1400" dirty="0">
              <a:latin typeface="Century Gothic" panose="020B0502020202020204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785F9C6-4913-43A5-B0E8-8880C12B53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546" y="714963"/>
            <a:ext cx="5760639" cy="385144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F9203C5-3DD0-43F1-A90A-5F19E0E42A9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933" y="2045747"/>
            <a:ext cx="6506419" cy="33951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E0DA897-804D-436D-9DD5-7731CC5953E5}"/>
              </a:ext>
            </a:extLst>
          </p:cNvPr>
          <p:cNvSpPr/>
          <p:nvPr/>
        </p:nvSpPr>
        <p:spPr>
          <a:xfrm>
            <a:off x="332673" y="3449782"/>
            <a:ext cx="540059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1" indent="-342891" algn="just">
              <a:buFont typeface="Arial" panose="020B0604020202020204" pitchFamily="34" charset="0"/>
              <a:buChar char="•"/>
            </a:pP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Әуезов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, 82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ғимаратында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жұмыс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орнын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дайындау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.</a:t>
            </a:r>
          </a:p>
          <a:p>
            <a:pPr marL="342891" indent="-342891" algn="just">
              <a:buFont typeface="Arial" panose="020B0604020202020204" pitchFamily="34" charset="0"/>
              <a:buChar char="•"/>
            </a:pP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Өрт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кезінде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құжаттард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жоғалту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турал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акт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жасалд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.</a:t>
            </a:r>
          </a:p>
          <a:p>
            <a:pPr marL="342891" indent="-342891" algn="just">
              <a:buFont typeface="Arial" panose="020B0604020202020204" pitchFamily="34" charset="0"/>
              <a:buChar char="•"/>
            </a:pP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Өткен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жылғ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құжаттарды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2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тілде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қалпына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Times New Roman" pitchFamily="18" charset="0"/>
              </a:rPr>
              <a:t>келтіру</a:t>
            </a:r>
            <a:r>
              <a:rPr lang="ru-RU" sz="1400" dirty="0">
                <a:latin typeface="Century Gothic" panose="020B0502020202020204" pitchFamily="34" charset="0"/>
                <a:cs typeface="Times New Roman" pitchFamily="18" charset="0"/>
              </a:rPr>
              <a:t>.</a:t>
            </a:r>
          </a:p>
          <a:p>
            <a:pPr marL="342891" indent="-342891" algn="just">
              <a:buFont typeface="Arial" panose="020B0604020202020204" pitchFamily="34" charset="0"/>
              <a:buChar char="•"/>
            </a:pPr>
            <a:r>
              <a:rPr lang="ru-RU" sz="1400" dirty="0" err="1">
                <a:latin typeface="Century Gothic" panose="020B0502020202020204" pitchFamily="34" charset="0"/>
              </a:rPr>
              <a:t>Серверлік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инфрақұрылымды</a:t>
            </a:r>
            <a:r>
              <a:rPr lang="ru-RU" sz="1400" dirty="0">
                <a:latin typeface="Century Gothic" panose="020B0502020202020204" pitchFamily="34" charset="0"/>
              </a:rPr>
              <a:t> (</a:t>
            </a:r>
            <a:r>
              <a:rPr lang="ru-RU" sz="1400" dirty="0" err="1">
                <a:latin typeface="Century Gothic" panose="020B0502020202020204" pitchFamily="34" charset="0"/>
              </a:rPr>
              <a:t>серверлер</a:t>
            </a:r>
            <a:r>
              <a:rPr lang="ru-RU" sz="1400" dirty="0"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</a:rPr>
              <a:t>коммутаторлар</a:t>
            </a:r>
            <a:r>
              <a:rPr lang="ru-RU" sz="1400" dirty="0"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</a:rPr>
              <a:t>желілік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экрандар</a:t>
            </a:r>
            <a:r>
              <a:rPr lang="ru-RU" sz="1400" dirty="0">
                <a:latin typeface="Century Gothic" panose="020B0502020202020204" pitchFamily="34" charset="0"/>
              </a:rPr>
              <a:t>, </a:t>
            </a:r>
            <a:r>
              <a:rPr lang="en-US" sz="1400" dirty="0" err="1">
                <a:latin typeface="Century Gothic" panose="020B0502020202020204" pitchFamily="34" charset="0"/>
              </a:rPr>
              <a:t>Certex</a:t>
            </a:r>
            <a:r>
              <a:rPr lang="en-US" sz="1400" dirty="0">
                <a:latin typeface="Century Gothic" panose="020B0502020202020204" pitchFamily="34" charset="0"/>
              </a:rPr>
              <a:t>-VPN, </a:t>
            </a:r>
            <a:r>
              <a:rPr lang="ru-RU" sz="1400" dirty="0" err="1">
                <a:latin typeface="Century Gothic" panose="020B0502020202020204" pitchFamily="34" charset="0"/>
              </a:rPr>
              <a:t>серверлік</a:t>
            </a:r>
            <a:r>
              <a:rPr lang="ru-RU" sz="1400" dirty="0">
                <a:latin typeface="Century Gothic" panose="020B0502020202020204" pitchFamily="34" charset="0"/>
              </a:rPr>
              <a:t> шкаф, </a:t>
            </a:r>
            <a:r>
              <a:rPr lang="en-US" sz="1400" dirty="0">
                <a:latin typeface="Century Gothic" panose="020B0502020202020204" pitchFamily="34" charset="0"/>
              </a:rPr>
              <a:t>SSD) </a:t>
            </a:r>
            <a:r>
              <a:rPr lang="ru-RU" sz="1400" dirty="0" err="1">
                <a:latin typeface="Century Gothic" panose="020B0502020202020204" pitchFamily="34" charset="0"/>
              </a:rPr>
              <a:t>және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бірыңғай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деректер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оймасы</a:t>
            </a:r>
            <a:r>
              <a:rPr lang="ru-RU" sz="1400" dirty="0">
                <a:latin typeface="Century Gothic" panose="020B0502020202020204" pitchFamily="34" charset="0"/>
              </a:rPr>
              <a:t> (</a:t>
            </a:r>
            <a:r>
              <a:rPr lang="en-US" sz="1400" dirty="0">
                <a:latin typeface="Century Gothic" panose="020B0502020202020204" pitchFamily="34" charset="0"/>
              </a:rPr>
              <a:t>MS SQL, Red Hat, Web Application Firewall) </a:t>
            </a:r>
            <a:r>
              <a:rPr lang="ru-RU" sz="1400" dirty="0" err="1">
                <a:latin typeface="Century Gothic" panose="020B0502020202020204" pitchFamily="34" charset="0"/>
              </a:rPr>
              <a:t>үшін</a:t>
            </a:r>
            <a:r>
              <a:rPr lang="ru-RU" sz="1400" dirty="0">
                <a:latin typeface="Century Gothic" panose="020B0502020202020204" pitchFamily="34" charset="0"/>
              </a:rPr>
              <a:t> БҚ </a:t>
            </a:r>
            <a:r>
              <a:rPr lang="ru-RU" sz="1400" dirty="0" err="1">
                <a:latin typeface="Century Gothic" panose="020B0502020202020204" pitchFamily="34" charset="0"/>
              </a:rPr>
              <a:t>қосымша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арақтандыру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үргізілді-жабдықты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қосу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жүргізілді</a:t>
            </a:r>
            <a:endParaRPr lang="ru-RU" sz="1400" dirty="0">
              <a:latin typeface="Century Gothic" panose="020B0502020202020204" pitchFamily="34" charset="0"/>
              <a:cs typeface="Times New Roman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784948F-AF50-4988-B95B-29F287F20BAD}"/>
              </a:ext>
            </a:extLst>
          </p:cNvPr>
          <p:cNvSpPr/>
          <p:nvPr/>
        </p:nvSpPr>
        <p:spPr>
          <a:xfrm>
            <a:off x="375556" y="3024694"/>
            <a:ext cx="50016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Қаңтар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оқиғаларының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қорытындысы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:</a:t>
            </a:r>
            <a:endParaRPr lang="ru-KZ" sz="16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90644EAF-C786-41EB-B382-64D7BBDADA09}"/>
              </a:ext>
            </a:extLst>
          </p:cNvPr>
          <p:cNvSpPr/>
          <p:nvPr/>
        </p:nvSpPr>
        <p:spPr>
          <a:xfrm>
            <a:off x="305198" y="983754"/>
            <a:ext cx="53587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«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Ашық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деректер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»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жұмыс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қорытындылары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sz="1600" dirty="0" err="1">
                <a:latin typeface="Century Gothic" panose="020B0502020202020204" pitchFamily="34" charset="0"/>
                <a:cs typeface="Times New Roman" pitchFamily="18" charset="0"/>
              </a:rPr>
              <a:t>бойынша</a:t>
            </a:r>
            <a:r>
              <a:rPr lang="ru-RU" sz="1600" dirty="0">
                <a:latin typeface="Century Gothic" panose="020B0502020202020204" pitchFamily="34" charset="0"/>
                <a:cs typeface="Times New Roman" pitchFamily="18" charset="0"/>
              </a:rPr>
              <a:t>:</a:t>
            </a:r>
            <a:endParaRPr lang="ru-KZ" sz="1600" dirty="0"/>
          </a:p>
        </p:txBody>
      </p:sp>
    </p:spTree>
    <p:extLst>
      <p:ext uri="{BB962C8B-B14F-4D97-AF65-F5344CB8AC3E}">
        <p14:creationId xmlns:p14="http://schemas.microsoft.com/office/powerpoint/2010/main" val="7454373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13079" y="218552"/>
            <a:ext cx="11765844" cy="772048"/>
          </a:xfrm>
          <a:prstGeom prst="rect">
            <a:avLst/>
          </a:prstGeom>
          <a:solidFill>
            <a:srgbClr val="1F385D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-6336" y="1"/>
            <a:ext cx="12193343" cy="382587"/>
            <a:chOff x="0" y="6401651"/>
            <a:chExt cx="12193343" cy="382587"/>
          </a:xfrm>
        </p:grpSpPr>
        <p:grpSp>
          <p:nvGrpSpPr>
            <p:cNvPr id="7" name="Группа 90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11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8" name="Группа 93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9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13" name="Группа 12"/>
          <p:cNvGrpSpPr/>
          <p:nvPr/>
        </p:nvGrpSpPr>
        <p:grpSpPr>
          <a:xfrm flipV="1">
            <a:off x="2" y="6475413"/>
            <a:ext cx="12193343" cy="382587"/>
            <a:chOff x="0" y="6401651"/>
            <a:chExt cx="12193343" cy="382587"/>
          </a:xfrm>
        </p:grpSpPr>
        <p:grpSp>
          <p:nvGrpSpPr>
            <p:cNvPr id="14" name="Группа 11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18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9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5" name="Группа 120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16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pPr defTabSz="914377"/>
                <a:endParaRPr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grpSp>
        <p:nvGrpSpPr>
          <p:cNvPr id="20" name="Группа 19"/>
          <p:cNvGrpSpPr/>
          <p:nvPr/>
        </p:nvGrpSpPr>
        <p:grpSpPr>
          <a:xfrm>
            <a:off x="381002" y="327665"/>
            <a:ext cx="1622351" cy="500489"/>
            <a:chOff x="776751" y="158334"/>
            <a:chExt cx="1622351" cy="500489"/>
          </a:xfrm>
        </p:grpSpPr>
        <p:sp>
          <p:nvSpPr>
            <p:cNvPr id="21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914377"/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pPr defTabSz="914377"/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pPr defTabSz="914377"/>
              <a:endParaRPr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pPr defTabSz="914377"/>
              <a:endParaRPr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62" name="Parallelogram 44">
            <a:extLst>
              <a:ext uri="{FF2B5EF4-FFF2-40B4-BE49-F238E27FC236}">
                <a16:creationId xmlns:a16="http://schemas.microsoft.com/office/drawing/2014/main" id="{2FB4881F-8DFB-434D-92BC-F0A35006B2DA}"/>
              </a:ext>
            </a:extLst>
          </p:cNvPr>
          <p:cNvSpPr/>
          <p:nvPr/>
        </p:nvSpPr>
        <p:spPr>
          <a:xfrm rot="11880248">
            <a:off x="591080" y="804735"/>
            <a:ext cx="627593" cy="515037"/>
          </a:xfrm>
          <a:prstGeom prst="parallelogram">
            <a:avLst>
              <a:gd name="adj" fmla="val 19410"/>
            </a:avLst>
          </a:prstGeom>
          <a:noFill/>
          <a:ln>
            <a:solidFill>
              <a:schemeClr val="bg1">
                <a:alpha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3" name="Parallelogram 61">
            <a:extLst>
              <a:ext uri="{FF2B5EF4-FFF2-40B4-BE49-F238E27FC236}">
                <a16:creationId xmlns:a16="http://schemas.microsoft.com/office/drawing/2014/main" id="{59D0942F-BD79-46FE-9F03-F5F62F68B1D8}"/>
              </a:ext>
            </a:extLst>
          </p:cNvPr>
          <p:cNvSpPr/>
          <p:nvPr/>
        </p:nvSpPr>
        <p:spPr>
          <a:xfrm rot="1424964">
            <a:off x="7343404" y="1440234"/>
            <a:ext cx="226163" cy="185601"/>
          </a:xfrm>
          <a:prstGeom prst="parallelogram">
            <a:avLst>
              <a:gd name="adj" fmla="val 19410"/>
            </a:avLst>
          </a:prstGeom>
          <a:noFill/>
          <a:ln>
            <a:solidFill>
              <a:schemeClr val="bg1">
                <a:alpha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1" name="Parallelogram 43">
            <a:extLst>
              <a:ext uri="{FF2B5EF4-FFF2-40B4-BE49-F238E27FC236}">
                <a16:creationId xmlns:a16="http://schemas.microsoft.com/office/drawing/2014/main" id="{9FF6BB7B-D238-4CAF-8375-FA2822A463E0}"/>
              </a:ext>
            </a:extLst>
          </p:cNvPr>
          <p:cNvSpPr/>
          <p:nvPr/>
        </p:nvSpPr>
        <p:spPr>
          <a:xfrm rot="19800000">
            <a:off x="-576287" y="-204763"/>
            <a:ext cx="1177989" cy="966721"/>
          </a:xfrm>
          <a:prstGeom prst="parallelogram">
            <a:avLst>
              <a:gd name="adj" fmla="val 19410"/>
            </a:avLst>
          </a:prstGeom>
          <a:noFill/>
          <a:ln>
            <a:solidFill>
              <a:schemeClr val="bg1">
                <a:alpha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2" name="Parallelogram 45">
            <a:extLst>
              <a:ext uri="{FF2B5EF4-FFF2-40B4-BE49-F238E27FC236}">
                <a16:creationId xmlns:a16="http://schemas.microsoft.com/office/drawing/2014/main" id="{477F8F7A-5DB4-4C4E-BE62-CC8FEC862BCB}"/>
              </a:ext>
            </a:extLst>
          </p:cNvPr>
          <p:cNvSpPr/>
          <p:nvPr/>
        </p:nvSpPr>
        <p:spPr>
          <a:xfrm rot="17100000">
            <a:off x="4583842" y="46537"/>
            <a:ext cx="260223" cy="213552"/>
          </a:xfrm>
          <a:prstGeom prst="parallelogram">
            <a:avLst>
              <a:gd name="adj" fmla="val 19410"/>
            </a:avLst>
          </a:prstGeom>
          <a:noFill/>
          <a:ln>
            <a:solidFill>
              <a:schemeClr val="bg1">
                <a:alpha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3" name="Parallelogram 55">
            <a:extLst>
              <a:ext uri="{FF2B5EF4-FFF2-40B4-BE49-F238E27FC236}">
                <a16:creationId xmlns:a16="http://schemas.microsoft.com/office/drawing/2014/main" id="{A5D8ADBA-4BA0-4942-853B-235C515D0241}"/>
              </a:ext>
            </a:extLst>
          </p:cNvPr>
          <p:cNvSpPr/>
          <p:nvPr/>
        </p:nvSpPr>
        <p:spPr>
          <a:xfrm rot="19800000">
            <a:off x="11222041" y="230034"/>
            <a:ext cx="1179496" cy="967959"/>
          </a:xfrm>
          <a:prstGeom prst="parallelogram">
            <a:avLst>
              <a:gd name="adj" fmla="val 19410"/>
            </a:avLst>
          </a:prstGeom>
          <a:noFill/>
          <a:ln>
            <a:solidFill>
              <a:schemeClr val="bg1">
                <a:alpha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5" name="Titel 1">
            <a:extLst>
              <a:ext uri="{FF2B5EF4-FFF2-40B4-BE49-F238E27FC236}">
                <a16:creationId xmlns:a16="http://schemas.microsoft.com/office/drawing/2014/main" id="{D747162D-B004-AE46-8C76-18F380E3C65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48400" y="427647"/>
            <a:ext cx="3848279" cy="307777"/>
          </a:xfrm>
          <a:prstGeom prst="rect">
            <a:avLst/>
          </a:prstGeom>
        </p:spPr>
        <p:txBody>
          <a:bodyPr anchor="ctr"/>
          <a:lstStyle>
            <a:lvl1pPr>
              <a:defRPr sz="2600" b="1">
                <a:solidFill>
                  <a:srgbClr val="262626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r>
              <a:rPr lang="en-US" sz="2000" dirty="0"/>
              <a:t>Data steward </a:t>
            </a:r>
            <a:r>
              <a:rPr lang="ru-RU" sz="2000" dirty="0" err="1"/>
              <a:t>жұмыс</a:t>
            </a:r>
            <a:r>
              <a:rPr lang="ru-RU" sz="2000" dirty="0"/>
              <a:t> </a:t>
            </a:r>
            <a:r>
              <a:rPr lang="ru-RU" sz="2000" dirty="0" err="1"/>
              <a:t>есебі</a:t>
            </a:r>
            <a:endParaRPr sz="2000" dirty="0"/>
          </a:p>
        </p:txBody>
      </p:sp>
      <p:sp>
        <p:nvSpPr>
          <p:cNvPr id="128" name="Полилиния 51">
            <a:extLst>
              <a:ext uri="{FF2B5EF4-FFF2-40B4-BE49-F238E27FC236}">
                <a16:creationId xmlns:a16="http://schemas.microsoft.com/office/drawing/2014/main" id="{C3B1E5FE-1ED1-B14B-AD2F-37660BE6591F}"/>
              </a:ext>
            </a:extLst>
          </p:cNvPr>
          <p:cNvSpPr/>
          <p:nvPr/>
        </p:nvSpPr>
        <p:spPr>
          <a:xfrm>
            <a:off x="7014589" y="3299260"/>
            <a:ext cx="450251" cy="343765"/>
          </a:xfrm>
          <a:custGeom>
            <a:avLst/>
            <a:gdLst>
              <a:gd name="connsiteX0" fmla="*/ 0 w 9177188"/>
              <a:gd name="connsiteY0" fmla="*/ 9812892 h 10921772"/>
              <a:gd name="connsiteX1" fmla="*/ 256304 w 9177188"/>
              <a:gd name="connsiteY1" fmla="*/ 9845460 h 10921772"/>
              <a:gd name="connsiteX2" fmla="*/ 841615 w 9177188"/>
              <a:gd name="connsiteY2" fmla="*/ 9875016 h 10921772"/>
              <a:gd name="connsiteX3" fmla="*/ 1136204 w 9177188"/>
              <a:gd name="connsiteY3" fmla="*/ 9867567 h 10921772"/>
              <a:gd name="connsiteX4" fmla="*/ 1325711 w 9177188"/>
              <a:gd name="connsiteY4" fmla="*/ 9853157 h 10921772"/>
              <a:gd name="connsiteX5" fmla="*/ 1370115 w 9177188"/>
              <a:gd name="connsiteY5" fmla="*/ 10045552 h 10921772"/>
              <a:gd name="connsiteX6" fmla="*/ 1639759 w 9177188"/>
              <a:gd name="connsiteY6" fmla="*/ 10843163 h 10921772"/>
              <a:gd name="connsiteX7" fmla="*/ 1675297 w 9177188"/>
              <a:gd name="connsiteY7" fmla="*/ 10921772 h 10921772"/>
              <a:gd name="connsiteX8" fmla="*/ 1456094 w 9177188"/>
              <a:gd name="connsiteY8" fmla="*/ 10822673 h 10921772"/>
              <a:gd name="connsiteX9" fmla="*/ 139953 w 9177188"/>
              <a:gd name="connsiteY9" fmla="*/ 9945926 h 10921772"/>
              <a:gd name="connsiteX10" fmla="*/ 4782086 w 9177188"/>
              <a:gd name="connsiteY10" fmla="*/ 0 h 10921772"/>
              <a:gd name="connsiteX11" fmla="*/ 5178772 w 9177188"/>
              <a:gd name="connsiteY11" fmla="*/ 72751 h 10921772"/>
              <a:gd name="connsiteX12" fmla="*/ 9098084 w 9177188"/>
              <a:gd name="connsiteY12" fmla="*/ 3180682 h 10921772"/>
              <a:gd name="connsiteX13" fmla="*/ 9177188 w 9177188"/>
              <a:gd name="connsiteY13" fmla="*/ 3355652 h 10921772"/>
              <a:gd name="connsiteX14" fmla="*/ 9142812 w 9177188"/>
              <a:gd name="connsiteY14" fmla="*/ 3340111 h 10921772"/>
              <a:gd name="connsiteX15" fmla="*/ 6914524 w 9177188"/>
              <a:gd name="connsiteY15" fmla="*/ 2890240 h 10921772"/>
              <a:gd name="connsiteX16" fmla="*/ 6619934 w 9177188"/>
              <a:gd name="connsiteY16" fmla="*/ 2897689 h 10921772"/>
              <a:gd name="connsiteX17" fmla="*/ 6430430 w 9177188"/>
              <a:gd name="connsiteY17" fmla="*/ 2912099 h 10921772"/>
              <a:gd name="connsiteX18" fmla="*/ 6386026 w 9177188"/>
              <a:gd name="connsiteY18" fmla="*/ 2719705 h 10921772"/>
              <a:gd name="connsiteX19" fmla="*/ 4889544 w 9177188"/>
              <a:gd name="connsiteY19" fmla="*/ 102451 h 10921772"/>
              <a:gd name="connsiteX0" fmla="*/ 0 w 9177188"/>
              <a:gd name="connsiteY0" fmla="*/ 9812892 h 10843163"/>
              <a:gd name="connsiteX1" fmla="*/ 256304 w 9177188"/>
              <a:gd name="connsiteY1" fmla="*/ 9845460 h 10843163"/>
              <a:gd name="connsiteX2" fmla="*/ 841615 w 9177188"/>
              <a:gd name="connsiteY2" fmla="*/ 9875016 h 10843163"/>
              <a:gd name="connsiteX3" fmla="*/ 1136204 w 9177188"/>
              <a:gd name="connsiteY3" fmla="*/ 9867567 h 10843163"/>
              <a:gd name="connsiteX4" fmla="*/ 1325711 w 9177188"/>
              <a:gd name="connsiteY4" fmla="*/ 9853157 h 10843163"/>
              <a:gd name="connsiteX5" fmla="*/ 1370115 w 9177188"/>
              <a:gd name="connsiteY5" fmla="*/ 10045552 h 10843163"/>
              <a:gd name="connsiteX6" fmla="*/ 1639759 w 9177188"/>
              <a:gd name="connsiteY6" fmla="*/ 10843163 h 10843163"/>
              <a:gd name="connsiteX7" fmla="*/ 1456094 w 9177188"/>
              <a:gd name="connsiteY7" fmla="*/ 10822673 h 10843163"/>
              <a:gd name="connsiteX8" fmla="*/ 139953 w 9177188"/>
              <a:gd name="connsiteY8" fmla="*/ 9945926 h 10843163"/>
              <a:gd name="connsiteX9" fmla="*/ 0 w 9177188"/>
              <a:gd name="connsiteY9" fmla="*/ 9812892 h 10843163"/>
              <a:gd name="connsiteX10" fmla="*/ 4782086 w 9177188"/>
              <a:gd name="connsiteY10" fmla="*/ 0 h 10843163"/>
              <a:gd name="connsiteX11" fmla="*/ 5178772 w 9177188"/>
              <a:gd name="connsiteY11" fmla="*/ 72751 h 10843163"/>
              <a:gd name="connsiteX12" fmla="*/ 9098084 w 9177188"/>
              <a:gd name="connsiteY12" fmla="*/ 3180682 h 10843163"/>
              <a:gd name="connsiteX13" fmla="*/ 9177188 w 9177188"/>
              <a:gd name="connsiteY13" fmla="*/ 3355652 h 10843163"/>
              <a:gd name="connsiteX14" fmla="*/ 9142812 w 9177188"/>
              <a:gd name="connsiteY14" fmla="*/ 3340111 h 10843163"/>
              <a:gd name="connsiteX15" fmla="*/ 6914524 w 9177188"/>
              <a:gd name="connsiteY15" fmla="*/ 2890240 h 10843163"/>
              <a:gd name="connsiteX16" fmla="*/ 6619934 w 9177188"/>
              <a:gd name="connsiteY16" fmla="*/ 2897689 h 10843163"/>
              <a:gd name="connsiteX17" fmla="*/ 6430430 w 9177188"/>
              <a:gd name="connsiteY17" fmla="*/ 2912099 h 10843163"/>
              <a:gd name="connsiteX18" fmla="*/ 6386026 w 9177188"/>
              <a:gd name="connsiteY18" fmla="*/ 2719705 h 10843163"/>
              <a:gd name="connsiteX19" fmla="*/ 4889544 w 9177188"/>
              <a:gd name="connsiteY19" fmla="*/ 102451 h 10843163"/>
              <a:gd name="connsiteX20" fmla="*/ 4782086 w 9177188"/>
              <a:gd name="connsiteY20" fmla="*/ 0 h 10843163"/>
              <a:gd name="connsiteX0" fmla="*/ 0 w 9177188"/>
              <a:gd name="connsiteY0" fmla="*/ 9812892 h 10843163"/>
              <a:gd name="connsiteX1" fmla="*/ 256304 w 9177188"/>
              <a:gd name="connsiteY1" fmla="*/ 9845460 h 10843163"/>
              <a:gd name="connsiteX2" fmla="*/ 841615 w 9177188"/>
              <a:gd name="connsiteY2" fmla="*/ 9875016 h 10843163"/>
              <a:gd name="connsiteX3" fmla="*/ 1136204 w 9177188"/>
              <a:gd name="connsiteY3" fmla="*/ 9867567 h 10843163"/>
              <a:gd name="connsiteX4" fmla="*/ 1325711 w 9177188"/>
              <a:gd name="connsiteY4" fmla="*/ 9853157 h 10843163"/>
              <a:gd name="connsiteX5" fmla="*/ 1370115 w 9177188"/>
              <a:gd name="connsiteY5" fmla="*/ 10045552 h 10843163"/>
              <a:gd name="connsiteX6" fmla="*/ 1639759 w 9177188"/>
              <a:gd name="connsiteY6" fmla="*/ 10843163 h 10843163"/>
              <a:gd name="connsiteX7" fmla="*/ 139953 w 9177188"/>
              <a:gd name="connsiteY7" fmla="*/ 9945926 h 10843163"/>
              <a:gd name="connsiteX8" fmla="*/ 0 w 9177188"/>
              <a:gd name="connsiteY8" fmla="*/ 9812892 h 10843163"/>
              <a:gd name="connsiteX9" fmla="*/ 4782086 w 9177188"/>
              <a:gd name="connsiteY9" fmla="*/ 0 h 10843163"/>
              <a:gd name="connsiteX10" fmla="*/ 5178772 w 9177188"/>
              <a:gd name="connsiteY10" fmla="*/ 72751 h 10843163"/>
              <a:gd name="connsiteX11" fmla="*/ 9098084 w 9177188"/>
              <a:gd name="connsiteY11" fmla="*/ 3180682 h 10843163"/>
              <a:gd name="connsiteX12" fmla="*/ 9177188 w 9177188"/>
              <a:gd name="connsiteY12" fmla="*/ 3355652 h 10843163"/>
              <a:gd name="connsiteX13" fmla="*/ 9142812 w 9177188"/>
              <a:gd name="connsiteY13" fmla="*/ 3340111 h 10843163"/>
              <a:gd name="connsiteX14" fmla="*/ 6914524 w 9177188"/>
              <a:gd name="connsiteY14" fmla="*/ 2890240 h 10843163"/>
              <a:gd name="connsiteX15" fmla="*/ 6619934 w 9177188"/>
              <a:gd name="connsiteY15" fmla="*/ 2897689 h 10843163"/>
              <a:gd name="connsiteX16" fmla="*/ 6430430 w 9177188"/>
              <a:gd name="connsiteY16" fmla="*/ 2912099 h 10843163"/>
              <a:gd name="connsiteX17" fmla="*/ 6386026 w 9177188"/>
              <a:gd name="connsiteY17" fmla="*/ 2719705 h 10843163"/>
              <a:gd name="connsiteX18" fmla="*/ 4889544 w 9177188"/>
              <a:gd name="connsiteY18" fmla="*/ 102451 h 10843163"/>
              <a:gd name="connsiteX19" fmla="*/ 4782086 w 9177188"/>
              <a:gd name="connsiteY19" fmla="*/ 0 h 10843163"/>
              <a:gd name="connsiteX0" fmla="*/ 0 w 9177188"/>
              <a:gd name="connsiteY0" fmla="*/ 9812892 h 10047590"/>
              <a:gd name="connsiteX1" fmla="*/ 256304 w 9177188"/>
              <a:gd name="connsiteY1" fmla="*/ 9845460 h 10047590"/>
              <a:gd name="connsiteX2" fmla="*/ 841615 w 9177188"/>
              <a:gd name="connsiteY2" fmla="*/ 9875016 h 10047590"/>
              <a:gd name="connsiteX3" fmla="*/ 1136204 w 9177188"/>
              <a:gd name="connsiteY3" fmla="*/ 9867567 h 10047590"/>
              <a:gd name="connsiteX4" fmla="*/ 1325711 w 9177188"/>
              <a:gd name="connsiteY4" fmla="*/ 9853157 h 10047590"/>
              <a:gd name="connsiteX5" fmla="*/ 1370115 w 9177188"/>
              <a:gd name="connsiteY5" fmla="*/ 10045552 h 10047590"/>
              <a:gd name="connsiteX6" fmla="*/ 139953 w 9177188"/>
              <a:gd name="connsiteY6" fmla="*/ 9945926 h 10047590"/>
              <a:gd name="connsiteX7" fmla="*/ 0 w 9177188"/>
              <a:gd name="connsiteY7" fmla="*/ 9812892 h 10047590"/>
              <a:gd name="connsiteX8" fmla="*/ 4782086 w 9177188"/>
              <a:gd name="connsiteY8" fmla="*/ 0 h 10047590"/>
              <a:gd name="connsiteX9" fmla="*/ 5178772 w 9177188"/>
              <a:gd name="connsiteY9" fmla="*/ 72751 h 10047590"/>
              <a:gd name="connsiteX10" fmla="*/ 9098084 w 9177188"/>
              <a:gd name="connsiteY10" fmla="*/ 3180682 h 10047590"/>
              <a:gd name="connsiteX11" fmla="*/ 9177188 w 9177188"/>
              <a:gd name="connsiteY11" fmla="*/ 3355652 h 10047590"/>
              <a:gd name="connsiteX12" fmla="*/ 9142812 w 9177188"/>
              <a:gd name="connsiteY12" fmla="*/ 3340111 h 10047590"/>
              <a:gd name="connsiteX13" fmla="*/ 6914524 w 9177188"/>
              <a:gd name="connsiteY13" fmla="*/ 2890240 h 10047590"/>
              <a:gd name="connsiteX14" fmla="*/ 6619934 w 9177188"/>
              <a:gd name="connsiteY14" fmla="*/ 2897689 h 10047590"/>
              <a:gd name="connsiteX15" fmla="*/ 6430430 w 9177188"/>
              <a:gd name="connsiteY15" fmla="*/ 2912099 h 10047590"/>
              <a:gd name="connsiteX16" fmla="*/ 6386026 w 9177188"/>
              <a:gd name="connsiteY16" fmla="*/ 2719705 h 10047590"/>
              <a:gd name="connsiteX17" fmla="*/ 4889544 w 9177188"/>
              <a:gd name="connsiteY17" fmla="*/ 102451 h 10047590"/>
              <a:gd name="connsiteX18" fmla="*/ 4782086 w 9177188"/>
              <a:gd name="connsiteY18" fmla="*/ 0 h 10047590"/>
              <a:gd name="connsiteX0" fmla="*/ 0 w 9177188"/>
              <a:gd name="connsiteY0" fmla="*/ 9812892 h 9945926"/>
              <a:gd name="connsiteX1" fmla="*/ 256304 w 9177188"/>
              <a:gd name="connsiteY1" fmla="*/ 9845460 h 9945926"/>
              <a:gd name="connsiteX2" fmla="*/ 841615 w 9177188"/>
              <a:gd name="connsiteY2" fmla="*/ 9875016 h 9945926"/>
              <a:gd name="connsiteX3" fmla="*/ 1136204 w 9177188"/>
              <a:gd name="connsiteY3" fmla="*/ 9867567 h 9945926"/>
              <a:gd name="connsiteX4" fmla="*/ 1325711 w 9177188"/>
              <a:gd name="connsiteY4" fmla="*/ 9853157 h 9945926"/>
              <a:gd name="connsiteX5" fmla="*/ 139953 w 9177188"/>
              <a:gd name="connsiteY5" fmla="*/ 9945926 h 9945926"/>
              <a:gd name="connsiteX6" fmla="*/ 0 w 9177188"/>
              <a:gd name="connsiteY6" fmla="*/ 9812892 h 9945926"/>
              <a:gd name="connsiteX7" fmla="*/ 4782086 w 9177188"/>
              <a:gd name="connsiteY7" fmla="*/ 0 h 9945926"/>
              <a:gd name="connsiteX8" fmla="*/ 5178772 w 9177188"/>
              <a:gd name="connsiteY8" fmla="*/ 72751 h 9945926"/>
              <a:gd name="connsiteX9" fmla="*/ 9098084 w 9177188"/>
              <a:gd name="connsiteY9" fmla="*/ 3180682 h 9945926"/>
              <a:gd name="connsiteX10" fmla="*/ 9177188 w 9177188"/>
              <a:gd name="connsiteY10" fmla="*/ 3355652 h 9945926"/>
              <a:gd name="connsiteX11" fmla="*/ 9142812 w 9177188"/>
              <a:gd name="connsiteY11" fmla="*/ 3340111 h 9945926"/>
              <a:gd name="connsiteX12" fmla="*/ 6914524 w 9177188"/>
              <a:gd name="connsiteY12" fmla="*/ 2890240 h 9945926"/>
              <a:gd name="connsiteX13" fmla="*/ 6619934 w 9177188"/>
              <a:gd name="connsiteY13" fmla="*/ 2897689 h 9945926"/>
              <a:gd name="connsiteX14" fmla="*/ 6430430 w 9177188"/>
              <a:gd name="connsiteY14" fmla="*/ 2912099 h 9945926"/>
              <a:gd name="connsiteX15" fmla="*/ 6386026 w 9177188"/>
              <a:gd name="connsiteY15" fmla="*/ 2719705 h 9945926"/>
              <a:gd name="connsiteX16" fmla="*/ 4889544 w 9177188"/>
              <a:gd name="connsiteY16" fmla="*/ 102451 h 9945926"/>
              <a:gd name="connsiteX17" fmla="*/ 4782086 w 9177188"/>
              <a:gd name="connsiteY17" fmla="*/ 0 h 9945926"/>
              <a:gd name="connsiteX0" fmla="*/ 0 w 9177188"/>
              <a:gd name="connsiteY0" fmla="*/ 9812892 h 9945926"/>
              <a:gd name="connsiteX1" fmla="*/ 256304 w 9177188"/>
              <a:gd name="connsiteY1" fmla="*/ 9845460 h 9945926"/>
              <a:gd name="connsiteX2" fmla="*/ 841615 w 9177188"/>
              <a:gd name="connsiteY2" fmla="*/ 9875016 h 9945926"/>
              <a:gd name="connsiteX3" fmla="*/ 1136204 w 9177188"/>
              <a:gd name="connsiteY3" fmla="*/ 9867567 h 9945926"/>
              <a:gd name="connsiteX4" fmla="*/ 139953 w 9177188"/>
              <a:gd name="connsiteY4" fmla="*/ 9945926 h 9945926"/>
              <a:gd name="connsiteX5" fmla="*/ 0 w 9177188"/>
              <a:gd name="connsiteY5" fmla="*/ 9812892 h 9945926"/>
              <a:gd name="connsiteX6" fmla="*/ 4782086 w 9177188"/>
              <a:gd name="connsiteY6" fmla="*/ 0 h 9945926"/>
              <a:gd name="connsiteX7" fmla="*/ 5178772 w 9177188"/>
              <a:gd name="connsiteY7" fmla="*/ 72751 h 9945926"/>
              <a:gd name="connsiteX8" fmla="*/ 9098084 w 9177188"/>
              <a:gd name="connsiteY8" fmla="*/ 3180682 h 9945926"/>
              <a:gd name="connsiteX9" fmla="*/ 9177188 w 9177188"/>
              <a:gd name="connsiteY9" fmla="*/ 3355652 h 9945926"/>
              <a:gd name="connsiteX10" fmla="*/ 9142812 w 9177188"/>
              <a:gd name="connsiteY10" fmla="*/ 3340111 h 9945926"/>
              <a:gd name="connsiteX11" fmla="*/ 6914524 w 9177188"/>
              <a:gd name="connsiteY11" fmla="*/ 2890240 h 9945926"/>
              <a:gd name="connsiteX12" fmla="*/ 6619934 w 9177188"/>
              <a:gd name="connsiteY12" fmla="*/ 2897689 h 9945926"/>
              <a:gd name="connsiteX13" fmla="*/ 6430430 w 9177188"/>
              <a:gd name="connsiteY13" fmla="*/ 2912099 h 9945926"/>
              <a:gd name="connsiteX14" fmla="*/ 6386026 w 9177188"/>
              <a:gd name="connsiteY14" fmla="*/ 2719705 h 9945926"/>
              <a:gd name="connsiteX15" fmla="*/ 4889544 w 9177188"/>
              <a:gd name="connsiteY15" fmla="*/ 102451 h 9945926"/>
              <a:gd name="connsiteX16" fmla="*/ 4782086 w 9177188"/>
              <a:gd name="connsiteY16" fmla="*/ 0 h 9945926"/>
              <a:gd name="connsiteX0" fmla="*/ 0 w 9177188"/>
              <a:gd name="connsiteY0" fmla="*/ 9812892 h 9947044"/>
              <a:gd name="connsiteX1" fmla="*/ 256304 w 9177188"/>
              <a:gd name="connsiteY1" fmla="*/ 9845460 h 9947044"/>
              <a:gd name="connsiteX2" fmla="*/ 841615 w 9177188"/>
              <a:gd name="connsiteY2" fmla="*/ 9875016 h 9947044"/>
              <a:gd name="connsiteX3" fmla="*/ 139953 w 9177188"/>
              <a:gd name="connsiteY3" fmla="*/ 9945926 h 9947044"/>
              <a:gd name="connsiteX4" fmla="*/ 0 w 9177188"/>
              <a:gd name="connsiteY4" fmla="*/ 9812892 h 9947044"/>
              <a:gd name="connsiteX5" fmla="*/ 4782086 w 9177188"/>
              <a:gd name="connsiteY5" fmla="*/ 0 h 9947044"/>
              <a:gd name="connsiteX6" fmla="*/ 5178772 w 9177188"/>
              <a:gd name="connsiteY6" fmla="*/ 72751 h 9947044"/>
              <a:gd name="connsiteX7" fmla="*/ 9098084 w 9177188"/>
              <a:gd name="connsiteY7" fmla="*/ 3180682 h 9947044"/>
              <a:gd name="connsiteX8" fmla="*/ 9177188 w 9177188"/>
              <a:gd name="connsiteY8" fmla="*/ 3355652 h 9947044"/>
              <a:gd name="connsiteX9" fmla="*/ 9142812 w 9177188"/>
              <a:gd name="connsiteY9" fmla="*/ 3340111 h 9947044"/>
              <a:gd name="connsiteX10" fmla="*/ 6914524 w 9177188"/>
              <a:gd name="connsiteY10" fmla="*/ 2890240 h 9947044"/>
              <a:gd name="connsiteX11" fmla="*/ 6619934 w 9177188"/>
              <a:gd name="connsiteY11" fmla="*/ 2897689 h 9947044"/>
              <a:gd name="connsiteX12" fmla="*/ 6430430 w 9177188"/>
              <a:gd name="connsiteY12" fmla="*/ 2912099 h 9947044"/>
              <a:gd name="connsiteX13" fmla="*/ 6386026 w 9177188"/>
              <a:gd name="connsiteY13" fmla="*/ 2719705 h 9947044"/>
              <a:gd name="connsiteX14" fmla="*/ 4889544 w 9177188"/>
              <a:gd name="connsiteY14" fmla="*/ 102451 h 9947044"/>
              <a:gd name="connsiteX15" fmla="*/ 4782086 w 9177188"/>
              <a:gd name="connsiteY15" fmla="*/ 0 h 9947044"/>
              <a:gd name="connsiteX0" fmla="*/ 0 w 9177188"/>
              <a:gd name="connsiteY0" fmla="*/ 9812892 h 9946178"/>
              <a:gd name="connsiteX1" fmla="*/ 256304 w 9177188"/>
              <a:gd name="connsiteY1" fmla="*/ 9845460 h 9946178"/>
              <a:gd name="connsiteX2" fmla="*/ 139953 w 9177188"/>
              <a:gd name="connsiteY2" fmla="*/ 9945926 h 9946178"/>
              <a:gd name="connsiteX3" fmla="*/ 0 w 9177188"/>
              <a:gd name="connsiteY3" fmla="*/ 9812892 h 9946178"/>
              <a:gd name="connsiteX4" fmla="*/ 4782086 w 9177188"/>
              <a:gd name="connsiteY4" fmla="*/ 0 h 9946178"/>
              <a:gd name="connsiteX5" fmla="*/ 5178772 w 9177188"/>
              <a:gd name="connsiteY5" fmla="*/ 72751 h 9946178"/>
              <a:gd name="connsiteX6" fmla="*/ 9098084 w 9177188"/>
              <a:gd name="connsiteY6" fmla="*/ 3180682 h 9946178"/>
              <a:gd name="connsiteX7" fmla="*/ 9177188 w 9177188"/>
              <a:gd name="connsiteY7" fmla="*/ 3355652 h 9946178"/>
              <a:gd name="connsiteX8" fmla="*/ 9142812 w 9177188"/>
              <a:gd name="connsiteY8" fmla="*/ 3340111 h 9946178"/>
              <a:gd name="connsiteX9" fmla="*/ 6914524 w 9177188"/>
              <a:gd name="connsiteY9" fmla="*/ 2890240 h 9946178"/>
              <a:gd name="connsiteX10" fmla="*/ 6619934 w 9177188"/>
              <a:gd name="connsiteY10" fmla="*/ 2897689 h 9946178"/>
              <a:gd name="connsiteX11" fmla="*/ 6430430 w 9177188"/>
              <a:gd name="connsiteY11" fmla="*/ 2912099 h 9946178"/>
              <a:gd name="connsiteX12" fmla="*/ 6386026 w 9177188"/>
              <a:gd name="connsiteY12" fmla="*/ 2719705 h 9946178"/>
              <a:gd name="connsiteX13" fmla="*/ 4889544 w 9177188"/>
              <a:gd name="connsiteY13" fmla="*/ 102451 h 9946178"/>
              <a:gd name="connsiteX14" fmla="*/ 4782086 w 9177188"/>
              <a:gd name="connsiteY14" fmla="*/ 0 h 9946178"/>
              <a:gd name="connsiteX0" fmla="*/ 0 w 9177188"/>
              <a:gd name="connsiteY0" fmla="*/ 9812892 h 9845460"/>
              <a:gd name="connsiteX1" fmla="*/ 256304 w 9177188"/>
              <a:gd name="connsiteY1" fmla="*/ 9845460 h 9845460"/>
              <a:gd name="connsiteX2" fmla="*/ 0 w 9177188"/>
              <a:gd name="connsiteY2" fmla="*/ 9812892 h 9845460"/>
              <a:gd name="connsiteX3" fmla="*/ 4782086 w 9177188"/>
              <a:gd name="connsiteY3" fmla="*/ 0 h 9845460"/>
              <a:gd name="connsiteX4" fmla="*/ 5178772 w 9177188"/>
              <a:gd name="connsiteY4" fmla="*/ 72751 h 9845460"/>
              <a:gd name="connsiteX5" fmla="*/ 9098084 w 9177188"/>
              <a:gd name="connsiteY5" fmla="*/ 3180682 h 9845460"/>
              <a:gd name="connsiteX6" fmla="*/ 9177188 w 9177188"/>
              <a:gd name="connsiteY6" fmla="*/ 3355652 h 9845460"/>
              <a:gd name="connsiteX7" fmla="*/ 9142812 w 9177188"/>
              <a:gd name="connsiteY7" fmla="*/ 3340111 h 9845460"/>
              <a:gd name="connsiteX8" fmla="*/ 6914524 w 9177188"/>
              <a:gd name="connsiteY8" fmla="*/ 2890240 h 9845460"/>
              <a:gd name="connsiteX9" fmla="*/ 6619934 w 9177188"/>
              <a:gd name="connsiteY9" fmla="*/ 2897689 h 9845460"/>
              <a:gd name="connsiteX10" fmla="*/ 6430430 w 9177188"/>
              <a:gd name="connsiteY10" fmla="*/ 2912099 h 9845460"/>
              <a:gd name="connsiteX11" fmla="*/ 6386026 w 9177188"/>
              <a:gd name="connsiteY11" fmla="*/ 2719705 h 9845460"/>
              <a:gd name="connsiteX12" fmla="*/ 4889544 w 9177188"/>
              <a:gd name="connsiteY12" fmla="*/ 102451 h 9845460"/>
              <a:gd name="connsiteX13" fmla="*/ 4782086 w 9177188"/>
              <a:gd name="connsiteY13" fmla="*/ 0 h 9845460"/>
              <a:gd name="connsiteX0" fmla="*/ 0 w 4395102"/>
              <a:gd name="connsiteY0" fmla="*/ 0 h 3355652"/>
              <a:gd name="connsiteX1" fmla="*/ 396686 w 4395102"/>
              <a:gd name="connsiteY1" fmla="*/ 72751 h 3355652"/>
              <a:gd name="connsiteX2" fmla="*/ 4315998 w 4395102"/>
              <a:gd name="connsiteY2" fmla="*/ 3180682 h 3355652"/>
              <a:gd name="connsiteX3" fmla="*/ 4395102 w 4395102"/>
              <a:gd name="connsiteY3" fmla="*/ 3355652 h 3355652"/>
              <a:gd name="connsiteX4" fmla="*/ 4360726 w 4395102"/>
              <a:gd name="connsiteY4" fmla="*/ 3340111 h 3355652"/>
              <a:gd name="connsiteX5" fmla="*/ 2132438 w 4395102"/>
              <a:gd name="connsiteY5" fmla="*/ 2890240 h 3355652"/>
              <a:gd name="connsiteX6" fmla="*/ 1837848 w 4395102"/>
              <a:gd name="connsiteY6" fmla="*/ 2897689 h 3355652"/>
              <a:gd name="connsiteX7" fmla="*/ 1648344 w 4395102"/>
              <a:gd name="connsiteY7" fmla="*/ 2912099 h 3355652"/>
              <a:gd name="connsiteX8" fmla="*/ 1603940 w 4395102"/>
              <a:gd name="connsiteY8" fmla="*/ 2719705 h 3355652"/>
              <a:gd name="connsiteX9" fmla="*/ 107458 w 4395102"/>
              <a:gd name="connsiteY9" fmla="*/ 102451 h 3355652"/>
              <a:gd name="connsiteX10" fmla="*/ 0 w 4395102"/>
              <a:gd name="connsiteY10" fmla="*/ 0 h 3355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5102" h="3355652">
                <a:moveTo>
                  <a:pt x="0" y="0"/>
                </a:moveTo>
                <a:lnTo>
                  <a:pt x="396686" y="72751"/>
                </a:lnTo>
                <a:cubicBezTo>
                  <a:pt x="2127968" y="455339"/>
                  <a:pt x="3564816" y="1621726"/>
                  <a:pt x="4315998" y="3180682"/>
                </a:cubicBezTo>
                <a:lnTo>
                  <a:pt x="4395102" y="3355652"/>
                </a:lnTo>
                <a:lnTo>
                  <a:pt x="4360726" y="3340111"/>
                </a:lnTo>
                <a:cubicBezTo>
                  <a:pt x="3675838" y="3050428"/>
                  <a:pt x="2922846" y="2890240"/>
                  <a:pt x="2132438" y="2890240"/>
                </a:cubicBezTo>
                <a:cubicBezTo>
                  <a:pt x="2033638" y="2890240"/>
                  <a:pt x="1935420" y="2892743"/>
                  <a:pt x="1837848" y="2897689"/>
                </a:cubicBezTo>
                <a:lnTo>
                  <a:pt x="1648344" y="2912099"/>
                </a:lnTo>
                <a:lnTo>
                  <a:pt x="1603940" y="2719705"/>
                </a:lnTo>
                <a:cubicBezTo>
                  <a:pt x="1345102" y="1713686"/>
                  <a:pt x="819678" y="814671"/>
                  <a:pt x="107458" y="10245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3554"/>
            <a:endParaRPr lang="ru-RU" sz="675">
              <a:solidFill>
                <a:srgbClr val="FFFFFF"/>
              </a:solidFill>
              <a:latin typeface="Calibri Light"/>
            </a:endParaRPr>
          </a:p>
        </p:txBody>
      </p:sp>
      <p:sp>
        <p:nvSpPr>
          <p:cNvPr id="141" name="Полилиния 51">
            <a:extLst>
              <a:ext uri="{FF2B5EF4-FFF2-40B4-BE49-F238E27FC236}">
                <a16:creationId xmlns:a16="http://schemas.microsoft.com/office/drawing/2014/main" id="{6C05D78A-9885-BE4B-A62B-90CD1E92CEF5}"/>
              </a:ext>
            </a:extLst>
          </p:cNvPr>
          <p:cNvSpPr/>
          <p:nvPr/>
        </p:nvSpPr>
        <p:spPr>
          <a:xfrm rot="4970798">
            <a:off x="3053979" y="3954643"/>
            <a:ext cx="450251" cy="343765"/>
          </a:xfrm>
          <a:custGeom>
            <a:avLst/>
            <a:gdLst>
              <a:gd name="connsiteX0" fmla="*/ 0 w 9177188"/>
              <a:gd name="connsiteY0" fmla="*/ 9812892 h 10921772"/>
              <a:gd name="connsiteX1" fmla="*/ 256304 w 9177188"/>
              <a:gd name="connsiteY1" fmla="*/ 9845460 h 10921772"/>
              <a:gd name="connsiteX2" fmla="*/ 841615 w 9177188"/>
              <a:gd name="connsiteY2" fmla="*/ 9875016 h 10921772"/>
              <a:gd name="connsiteX3" fmla="*/ 1136204 w 9177188"/>
              <a:gd name="connsiteY3" fmla="*/ 9867567 h 10921772"/>
              <a:gd name="connsiteX4" fmla="*/ 1325711 w 9177188"/>
              <a:gd name="connsiteY4" fmla="*/ 9853157 h 10921772"/>
              <a:gd name="connsiteX5" fmla="*/ 1370115 w 9177188"/>
              <a:gd name="connsiteY5" fmla="*/ 10045552 h 10921772"/>
              <a:gd name="connsiteX6" fmla="*/ 1639759 w 9177188"/>
              <a:gd name="connsiteY6" fmla="*/ 10843163 h 10921772"/>
              <a:gd name="connsiteX7" fmla="*/ 1675297 w 9177188"/>
              <a:gd name="connsiteY7" fmla="*/ 10921772 h 10921772"/>
              <a:gd name="connsiteX8" fmla="*/ 1456094 w 9177188"/>
              <a:gd name="connsiteY8" fmla="*/ 10822673 h 10921772"/>
              <a:gd name="connsiteX9" fmla="*/ 139953 w 9177188"/>
              <a:gd name="connsiteY9" fmla="*/ 9945926 h 10921772"/>
              <a:gd name="connsiteX10" fmla="*/ 4782086 w 9177188"/>
              <a:gd name="connsiteY10" fmla="*/ 0 h 10921772"/>
              <a:gd name="connsiteX11" fmla="*/ 5178772 w 9177188"/>
              <a:gd name="connsiteY11" fmla="*/ 72751 h 10921772"/>
              <a:gd name="connsiteX12" fmla="*/ 9098084 w 9177188"/>
              <a:gd name="connsiteY12" fmla="*/ 3180682 h 10921772"/>
              <a:gd name="connsiteX13" fmla="*/ 9177188 w 9177188"/>
              <a:gd name="connsiteY13" fmla="*/ 3355652 h 10921772"/>
              <a:gd name="connsiteX14" fmla="*/ 9142812 w 9177188"/>
              <a:gd name="connsiteY14" fmla="*/ 3340111 h 10921772"/>
              <a:gd name="connsiteX15" fmla="*/ 6914524 w 9177188"/>
              <a:gd name="connsiteY15" fmla="*/ 2890240 h 10921772"/>
              <a:gd name="connsiteX16" fmla="*/ 6619934 w 9177188"/>
              <a:gd name="connsiteY16" fmla="*/ 2897689 h 10921772"/>
              <a:gd name="connsiteX17" fmla="*/ 6430430 w 9177188"/>
              <a:gd name="connsiteY17" fmla="*/ 2912099 h 10921772"/>
              <a:gd name="connsiteX18" fmla="*/ 6386026 w 9177188"/>
              <a:gd name="connsiteY18" fmla="*/ 2719705 h 10921772"/>
              <a:gd name="connsiteX19" fmla="*/ 4889544 w 9177188"/>
              <a:gd name="connsiteY19" fmla="*/ 102451 h 10921772"/>
              <a:gd name="connsiteX0" fmla="*/ 0 w 9177188"/>
              <a:gd name="connsiteY0" fmla="*/ 9812892 h 10843163"/>
              <a:gd name="connsiteX1" fmla="*/ 256304 w 9177188"/>
              <a:gd name="connsiteY1" fmla="*/ 9845460 h 10843163"/>
              <a:gd name="connsiteX2" fmla="*/ 841615 w 9177188"/>
              <a:gd name="connsiteY2" fmla="*/ 9875016 h 10843163"/>
              <a:gd name="connsiteX3" fmla="*/ 1136204 w 9177188"/>
              <a:gd name="connsiteY3" fmla="*/ 9867567 h 10843163"/>
              <a:gd name="connsiteX4" fmla="*/ 1325711 w 9177188"/>
              <a:gd name="connsiteY4" fmla="*/ 9853157 h 10843163"/>
              <a:gd name="connsiteX5" fmla="*/ 1370115 w 9177188"/>
              <a:gd name="connsiteY5" fmla="*/ 10045552 h 10843163"/>
              <a:gd name="connsiteX6" fmla="*/ 1639759 w 9177188"/>
              <a:gd name="connsiteY6" fmla="*/ 10843163 h 10843163"/>
              <a:gd name="connsiteX7" fmla="*/ 1456094 w 9177188"/>
              <a:gd name="connsiteY7" fmla="*/ 10822673 h 10843163"/>
              <a:gd name="connsiteX8" fmla="*/ 139953 w 9177188"/>
              <a:gd name="connsiteY8" fmla="*/ 9945926 h 10843163"/>
              <a:gd name="connsiteX9" fmla="*/ 0 w 9177188"/>
              <a:gd name="connsiteY9" fmla="*/ 9812892 h 10843163"/>
              <a:gd name="connsiteX10" fmla="*/ 4782086 w 9177188"/>
              <a:gd name="connsiteY10" fmla="*/ 0 h 10843163"/>
              <a:gd name="connsiteX11" fmla="*/ 5178772 w 9177188"/>
              <a:gd name="connsiteY11" fmla="*/ 72751 h 10843163"/>
              <a:gd name="connsiteX12" fmla="*/ 9098084 w 9177188"/>
              <a:gd name="connsiteY12" fmla="*/ 3180682 h 10843163"/>
              <a:gd name="connsiteX13" fmla="*/ 9177188 w 9177188"/>
              <a:gd name="connsiteY13" fmla="*/ 3355652 h 10843163"/>
              <a:gd name="connsiteX14" fmla="*/ 9142812 w 9177188"/>
              <a:gd name="connsiteY14" fmla="*/ 3340111 h 10843163"/>
              <a:gd name="connsiteX15" fmla="*/ 6914524 w 9177188"/>
              <a:gd name="connsiteY15" fmla="*/ 2890240 h 10843163"/>
              <a:gd name="connsiteX16" fmla="*/ 6619934 w 9177188"/>
              <a:gd name="connsiteY16" fmla="*/ 2897689 h 10843163"/>
              <a:gd name="connsiteX17" fmla="*/ 6430430 w 9177188"/>
              <a:gd name="connsiteY17" fmla="*/ 2912099 h 10843163"/>
              <a:gd name="connsiteX18" fmla="*/ 6386026 w 9177188"/>
              <a:gd name="connsiteY18" fmla="*/ 2719705 h 10843163"/>
              <a:gd name="connsiteX19" fmla="*/ 4889544 w 9177188"/>
              <a:gd name="connsiteY19" fmla="*/ 102451 h 10843163"/>
              <a:gd name="connsiteX20" fmla="*/ 4782086 w 9177188"/>
              <a:gd name="connsiteY20" fmla="*/ 0 h 10843163"/>
              <a:gd name="connsiteX0" fmla="*/ 0 w 9177188"/>
              <a:gd name="connsiteY0" fmla="*/ 9812892 h 10843163"/>
              <a:gd name="connsiteX1" fmla="*/ 256304 w 9177188"/>
              <a:gd name="connsiteY1" fmla="*/ 9845460 h 10843163"/>
              <a:gd name="connsiteX2" fmla="*/ 841615 w 9177188"/>
              <a:gd name="connsiteY2" fmla="*/ 9875016 h 10843163"/>
              <a:gd name="connsiteX3" fmla="*/ 1136204 w 9177188"/>
              <a:gd name="connsiteY3" fmla="*/ 9867567 h 10843163"/>
              <a:gd name="connsiteX4" fmla="*/ 1325711 w 9177188"/>
              <a:gd name="connsiteY4" fmla="*/ 9853157 h 10843163"/>
              <a:gd name="connsiteX5" fmla="*/ 1370115 w 9177188"/>
              <a:gd name="connsiteY5" fmla="*/ 10045552 h 10843163"/>
              <a:gd name="connsiteX6" fmla="*/ 1639759 w 9177188"/>
              <a:gd name="connsiteY6" fmla="*/ 10843163 h 10843163"/>
              <a:gd name="connsiteX7" fmla="*/ 139953 w 9177188"/>
              <a:gd name="connsiteY7" fmla="*/ 9945926 h 10843163"/>
              <a:gd name="connsiteX8" fmla="*/ 0 w 9177188"/>
              <a:gd name="connsiteY8" fmla="*/ 9812892 h 10843163"/>
              <a:gd name="connsiteX9" fmla="*/ 4782086 w 9177188"/>
              <a:gd name="connsiteY9" fmla="*/ 0 h 10843163"/>
              <a:gd name="connsiteX10" fmla="*/ 5178772 w 9177188"/>
              <a:gd name="connsiteY10" fmla="*/ 72751 h 10843163"/>
              <a:gd name="connsiteX11" fmla="*/ 9098084 w 9177188"/>
              <a:gd name="connsiteY11" fmla="*/ 3180682 h 10843163"/>
              <a:gd name="connsiteX12" fmla="*/ 9177188 w 9177188"/>
              <a:gd name="connsiteY12" fmla="*/ 3355652 h 10843163"/>
              <a:gd name="connsiteX13" fmla="*/ 9142812 w 9177188"/>
              <a:gd name="connsiteY13" fmla="*/ 3340111 h 10843163"/>
              <a:gd name="connsiteX14" fmla="*/ 6914524 w 9177188"/>
              <a:gd name="connsiteY14" fmla="*/ 2890240 h 10843163"/>
              <a:gd name="connsiteX15" fmla="*/ 6619934 w 9177188"/>
              <a:gd name="connsiteY15" fmla="*/ 2897689 h 10843163"/>
              <a:gd name="connsiteX16" fmla="*/ 6430430 w 9177188"/>
              <a:gd name="connsiteY16" fmla="*/ 2912099 h 10843163"/>
              <a:gd name="connsiteX17" fmla="*/ 6386026 w 9177188"/>
              <a:gd name="connsiteY17" fmla="*/ 2719705 h 10843163"/>
              <a:gd name="connsiteX18" fmla="*/ 4889544 w 9177188"/>
              <a:gd name="connsiteY18" fmla="*/ 102451 h 10843163"/>
              <a:gd name="connsiteX19" fmla="*/ 4782086 w 9177188"/>
              <a:gd name="connsiteY19" fmla="*/ 0 h 10843163"/>
              <a:gd name="connsiteX0" fmla="*/ 0 w 9177188"/>
              <a:gd name="connsiteY0" fmla="*/ 9812892 h 10047590"/>
              <a:gd name="connsiteX1" fmla="*/ 256304 w 9177188"/>
              <a:gd name="connsiteY1" fmla="*/ 9845460 h 10047590"/>
              <a:gd name="connsiteX2" fmla="*/ 841615 w 9177188"/>
              <a:gd name="connsiteY2" fmla="*/ 9875016 h 10047590"/>
              <a:gd name="connsiteX3" fmla="*/ 1136204 w 9177188"/>
              <a:gd name="connsiteY3" fmla="*/ 9867567 h 10047590"/>
              <a:gd name="connsiteX4" fmla="*/ 1325711 w 9177188"/>
              <a:gd name="connsiteY4" fmla="*/ 9853157 h 10047590"/>
              <a:gd name="connsiteX5" fmla="*/ 1370115 w 9177188"/>
              <a:gd name="connsiteY5" fmla="*/ 10045552 h 10047590"/>
              <a:gd name="connsiteX6" fmla="*/ 139953 w 9177188"/>
              <a:gd name="connsiteY6" fmla="*/ 9945926 h 10047590"/>
              <a:gd name="connsiteX7" fmla="*/ 0 w 9177188"/>
              <a:gd name="connsiteY7" fmla="*/ 9812892 h 10047590"/>
              <a:gd name="connsiteX8" fmla="*/ 4782086 w 9177188"/>
              <a:gd name="connsiteY8" fmla="*/ 0 h 10047590"/>
              <a:gd name="connsiteX9" fmla="*/ 5178772 w 9177188"/>
              <a:gd name="connsiteY9" fmla="*/ 72751 h 10047590"/>
              <a:gd name="connsiteX10" fmla="*/ 9098084 w 9177188"/>
              <a:gd name="connsiteY10" fmla="*/ 3180682 h 10047590"/>
              <a:gd name="connsiteX11" fmla="*/ 9177188 w 9177188"/>
              <a:gd name="connsiteY11" fmla="*/ 3355652 h 10047590"/>
              <a:gd name="connsiteX12" fmla="*/ 9142812 w 9177188"/>
              <a:gd name="connsiteY12" fmla="*/ 3340111 h 10047590"/>
              <a:gd name="connsiteX13" fmla="*/ 6914524 w 9177188"/>
              <a:gd name="connsiteY13" fmla="*/ 2890240 h 10047590"/>
              <a:gd name="connsiteX14" fmla="*/ 6619934 w 9177188"/>
              <a:gd name="connsiteY14" fmla="*/ 2897689 h 10047590"/>
              <a:gd name="connsiteX15" fmla="*/ 6430430 w 9177188"/>
              <a:gd name="connsiteY15" fmla="*/ 2912099 h 10047590"/>
              <a:gd name="connsiteX16" fmla="*/ 6386026 w 9177188"/>
              <a:gd name="connsiteY16" fmla="*/ 2719705 h 10047590"/>
              <a:gd name="connsiteX17" fmla="*/ 4889544 w 9177188"/>
              <a:gd name="connsiteY17" fmla="*/ 102451 h 10047590"/>
              <a:gd name="connsiteX18" fmla="*/ 4782086 w 9177188"/>
              <a:gd name="connsiteY18" fmla="*/ 0 h 10047590"/>
              <a:gd name="connsiteX0" fmla="*/ 0 w 9177188"/>
              <a:gd name="connsiteY0" fmla="*/ 9812892 h 9945926"/>
              <a:gd name="connsiteX1" fmla="*/ 256304 w 9177188"/>
              <a:gd name="connsiteY1" fmla="*/ 9845460 h 9945926"/>
              <a:gd name="connsiteX2" fmla="*/ 841615 w 9177188"/>
              <a:gd name="connsiteY2" fmla="*/ 9875016 h 9945926"/>
              <a:gd name="connsiteX3" fmla="*/ 1136204 w 9177188"/>
              <a:gd name="connsiteY3" fmla="*/ 9867567 h 9945926"/>
              <a:gd name="connsiteX4" fmla="*/ 1325711 w 9177188"/>
              <a:gd name="connsiteY4" fmla="*/ 9853157 h 9945926"/>
              <a:gd name="connsiteX5" fmla="*/ 139953 w 9177188"/>
              <a:gd name="connsiteY5" fmla="*/ 9945926 h 9945926"/>
              <a:gd name="connsiteX6" fmla="*/ 0 w 9177188"/>
              <a:gd name="connsiteY6" fmla="*/ 9812892 h 9945926"/>
              <a:gd name="connsiteX7" fmla="*/ 4782086 w 9177188"/>
              <a:gd name="connsiteY7" fmla="*/ 0 h 9945926"/>
              <a:gd name="connsiteX8" fmla="*/ 5178772 w 9177188"/>
              <a:gd name="connsiteY8" fmla="*/ 72751 h 9945926"/>
              <a:gd name="connsiteX9" fmla="*/ 9098084 w 9177188"/>
              <a:gd name="connsiteY9" fmla="*/ 3180682 h 9945926"/>
              <a:gd name="connsiteX10" fmla="*/ 9177188 w 9177188"/>
              <a:gd name="connsiteY10" fmla="*/ 3355652 h 9945926"/>
              <a:gd name="connsiteX11" fmla="*/ 9142812 w 9177188"/>
              <a:gd name="connsiteY11" fmla="*/ 3340111 h 9945926"/>
              <a:gd name="connsiteX12" fmla="*/ 6914524 w 9177188"/>
              <a:gd name="connsiteY12" fmla="*/ 2890240 h 9945926"/>
              <a:gd name="connsiteX13" fmla="*/ 6619934 w 9177188"/>
              <a:gd name="connsiteY13" fmla="*/ 2897689 h 9945926"/>
              <a:gd name="connsiteX14" fmla="*/ 6430430 w 9177188"/>
              <a:gd name="connsiteY14" fmla="*/ 2912099 h 9945926"/>
              <a:gd name="connsiteX15" fmla="*/ 6386026 w 9177188"/>
              <a:gd name="connsiteY15" fmla="*/ 2719705 h 9945926"/>
              <a:gd name="connsiteX16" fmla="*/ 4889544 w 9177188"/>
              <a:gd name="connsiteY16" fmla="*/ 102451 h 9945926"/>
              <a:gd name="connsiteX17" fmla="*/ 4782086 w 9177188"/>
              <a:gd name="connsiteY17" fmla="*/ 0 h 9945926"/>
              <a:gd name="connsiteX0" fmla="*/ 0 w 9177188"/>
              <a:gd name="connsiteY0" fmla="*/ 9812892 h 9945926"/>
              <a:gd name="connsiteX1" fmla="*/ 256304 w 9177188"/>
              <a:gd name="connsiteY1" fmla="*/ 9845460 h 9945926"/>
              <a:gd name="connsiteX2" fmla="*/ 841615 w 9177188"/>
              <a:gd name="connsiteY2" fmla="*/ 9875016 h 9945926"/>
              <a:gd name="connsiteX3" fmla="*/ 1136204 w 9177188"/>
              <a:gd name="connsiteY3" fmla="*/ 9867567 h 9945926"/>
              <a:gd name="connsiteX4" fmla="*/ 139953 w 9177188"/>
              <a:gd name="connsiteY4" fmla="*/ 9945926 h 9945926"/>
              <a:gd name="connsiteX5" fmla="*/ 0 w 9177188"/>
              <a:gd name="connsiteY5" fmla="*/ 9812892 h 9945926"/>
              <a:gd name="connsiteX6" fmla="*/ 4782086 w 9177188"/>
              <a:gd name="connsiteY6" fmla="*/ 0 h 9945926"/>
              <a:gd name="connsiteX7" fmla="*/ 5178772 w 9177188"/>
              <a:gd name="connsiteY7" fmla="*/ 72751 h 9945926"/>
              <a:gd name="connsiteX8" fmla="*/ 9098084 w 9177188"/>
              <a:gd name="connsiteY8" fmla="*/ 3180682 h 9945926"/>
              <a:gd name="connsiteX9" fmla="*/ 9177188 w 9177188"/>
              <a:gd name="connsiteY9" fmla="*/ 3355652 h 9945926"/>
              <a:gd name="connsiteX10" fmla="*/ 9142812 w 9177188"/>
              <a:gd name="connsiteY10" fmla="*/ 3340111 h 9945926"/>
              <a:gd name="connsiteX11" fmla="*/ 6914524 w 9177188"/>
              <a:gd name="connsiteY11" fmla="*/ 2890240 h 9945926"/>
              <a:gd name="connsiteX12" fmla="*/ 6619934 w 9177188"/>
              <a:gd name="connsiteY12" fmla="*/ 2897689 h 9945926"/>
              <a:gd name="connsiteX13" fmla="*/ 6430430 w 9177188"/>
              <a:gd name="connsiteY13" fmla="*/ 2912099 h 9945926"/>
              <a:gd name="connsiteX14" fmla="*/ 6386026 w 9177188"/>
              <a:gd name="connsiteY14" fmla="*/ 2719705 h 9945926"/>
              <a:gd name="connsiteX15" fmla="*/ 4889544 w 9177188"/>
              <a:gd name="connsiteY15" fmla="*/ 102451 h 9945926"/>
              <a:gd name="connsiteX16" fmla="*/ 4782086 w 9177188"/>
              <a:gd name="connsiteY16" fmla="*/ 0 h 9945926"/>
              <a:gd name="connsiteX0" fmla="*/ 0 w 9177188"/>
              <a:gd name="connsiteY0" fmla="*/ 9812892 h 9947044"/>
              <a:gd name="connsiteX1" fmla="*/ 256304 w 9177188"/>
              <a:gd name="connsiteY1" fmla="*/ 9845460 h 9947044"/>
              <a:gd name="connsiteX2" fmla="*/ 841615 w 9177188"/>
              <a:gd name="connsiteY2" fmla="*/ 9875016 h 9947044"/>
              <a:gd name="connsiteX3" fmla="*/ 139953 w 9177188"/>
              <a:gd name="connsiteY3" fmla="*/ 9945926 h 9947044"/>
              <a:gd name="connsiteX4" fmla="*/ 0 w 9177188"/>
              <a:gd name="connsiteY4" fmla="*/ 9812892 h 9947044"/>
              <a:gd name="connsiteX5" fmla="*/ 4782086 w 9177188"/>
              <a:gd name="connsiteY5" fmla="*/ 0 h 9947044"/>
              <a:gd name="connsiteX6" fmla="*/ 5178772 w 9177188"/>
              <a:gd name="connsiteY6" fmla="*/ 72751 h 9947044"/>
              <a:gd name="connsiteX7" fmla="*/ 9098084 w 9177188"/>
              <a:gd name="connsiteY7" fmla="*/ 3180682 h 9947044"/>
              <a:gd name="connsiteX8" fmla="*/ 9177188 w 9177188"/>
              <a:gd name="connsiteY8" fmla="*/ 3355652 h 9947044"/>
              <a:gd name="connsiteX9" fmla="*/ 9142812 w 9177188"/>
              <a:gd name="connsiteY9" fmla="*/ 3340111 h 9947044"/>
              <a:gd name="connsiteX10" fmla="*/ 6914524 w 9177188"/>
              <a:gd name="connsiteY10" fmla="*/ 2890240 h 9947044"/>
              <a:gd name="connsiteX11" fmla="*/ 6619934 w 9177188"/>
              <a:gd name="connsiteY11" fmla="*/ 2897689 h 9947044"/>
              <a:gd name="connsiteX12" fmla="*/ 6430430 w 9177188"/>
              <a:gd name="connsiteY12" fmla="*/ 2912099 h 9947044"/>
              <a:gd name="connsiteX13" fmla="*/ 6386026 w 9177188"/>
              <a:gd name="connsiteY13" fmla="*/ 2719705 h 9947044"/>
              <a:gd name="connsiteX14" fmla="*/ 4889544 w 9177188"/>
              <a:gd name="connsiteY14" fmla="*/ 102451 h 9947044"/>
              <a:gd name="connsiteX15" fmla="*/ 4782086 w 9177188"/>
              <a:gd name="connsiteY15" fmla="*/ 0 h 9947044"/>
              <a:gd name="connsiteX0" fmla="*/ 0 w 9177188"/>
              <a:gd name="connsiteY0" fmla="*/ 9812892 h 9946178"/>
              <a:gd name="connsiteX1" fmla="*/ 256304 w 9177188"/>
              <a:gd name="connsiteY1" fmla="*/ 9845460 h 9946178"/>
              <a:gd name="connsiteX2" fmla="*/ 139953 w 9177188"/>
              <a:gd name="connsiteY2" fmla="*/ 9945926 h 9946178"/>
              <a:gd name="connsiteX3" fmla="*/ 0 w 9177188"/>
              <a:gd name="connsiteY3" fmla="*/ 9812892 h 9946178"/>
              <a:gd name="connsiteX4" fmla="*/ 4782086 w 9177188"/>
              <a:gd name="connsiteY4" fmla="*/ 0 h 9946178"/>
              <a:gd name="connsiteX5" fmla="*/ 5178772 w 9177188"/>
              <a:gd name="connsiteY5" fmla="*/ 72751 h 9946178"/>
              <a:gd name="connsiteX6" fmla="*/ 9098084 w 9177188"/>
              <a:gd name="connsiteY6" fmla="*/ 3180682 h 9946178"/>
              <a:gd name="connsiteX7" fmla="*/ 9177188 w 9177188"/>
              <a:gd name="connsiteY7" fmla="*/ 3355652 h 9946178"/>
              <a:gd name="connsiteX8" fmla="*/ 9142812 w 9177188"/>
              <a:gd name="connsiteY8" fmla="*/ 3340111 h 9946178"/>
              <a:gd name="connsiteX9" fmla="*/ 6914524 w 9177188"/>
              <a:gd name="connsiteY9" fmla="*/ 2890240 h 9946178"/>
              <a:gd name="connsiteX10" fmla="*/ 6619934 w 9177188"/>
              <a:gd name="connsiteY10" fmla="*/ 2897689 h 9946178"/>
              <a:gd name="connsiteX11" fmla="*/ 6430430 w 9177188"/>
              <a:gd name="connsiteY11" fmla="*/ 2912099 h 9946178"/>
              <a:gd name="connsiteX12" fmla="*/ 6386026 w 9177188"/>
              <a:gd name="connsiteY12" fmla="*/ 2719705 h 9946178"/>
              <a:gd name="connsiteX13" fmla="*/ 4889544 w 9177188"/>
              <a:gd name="connsiteY13" fmla="*/ 102451 h 9946178"/>
              <a:gd name="connsiteX14" fmla="*/ 4782086 w 9177188"/>
              <a:gd name="connsiteY14" fmla="*/ 0 h 9946178"/>
              <a:gd name="connsiteX0" fmla="*/ 0 w 9177188"/>
              <a:gd name="connsiteY0" fmla="*/ 9812892 h 9845460"/>
              <a:gd name="connsiteX1" fmla="*/ 256304 w 9177188"/>
              <a:gd name="connsiteY1" fmla="*/ 9845460 h 9845460"/>
              <a:gd name="connsiteX2" fmla="*/ 0 w 9177188"/>
              <a:gd name="connsiteY2" fmla="*/ 9812892 h 9845460"/>
              <a:gd name="connsiteX3" fmla="*/ 4782086 w 9177188"/>
              <a:gd name="connsiteY3" fmla="*/ 0 h 9845460"/>
              <a:gd name="connsiteX4" fmla="*/ 5178772 w 9177188"/>
              <a:gd name="connsiteY4" fmla="*/ 72751 h 9845460"/>
              <a:gd name="connsiteX5" fmla="*/ 9098084 w 9177188"/>
              <a:gd name="connsiteY5" fmla="*/ 3180682 h 9845460"/>
              <a:gd name="connsiteX6" fmla="*/ 9177188 w 9177188"/>
              <a:gd name="connsiteY6" fmla="*/ 3355652 h 9845460"/>
              <a:gd name="connsiteX7" fmla="*/ 9142812 w 9177188"/>
              <a:gd name="connsiteY7" fmla="*/ 3340111 h 9845460"/>
              <a:gd name="connsiteX8" fmla="*/ 6914524 w 9177188"/>
              <a:gd name="connsiteY8" fmla="*/ 2890240 h 9845460"/>
              <a:gd name="connsiteX9" fmla="*/ 6619934 w 9177188"/>
              <a:gd name="connsiteY9" fmla="*/ 2897689 h 9845460"/>
              <a:gd name="connsiteX10" fmla="*/ 6430430 w 9177188"/>
              <a:gd name="connsiteY10" fmla="*/ 2912099 h 9845460"/>
              <a:gd name="connsiteX11" fmla="*/ 6386026 w 9177188"/>
              <a:gd name="connsiteY11" fmla="*/ 2719705 h 9845460"/>
              <a:gd name="connsiteX12" fmla="*/ 4889544 w 9177188"/>
              <a:gd name="connsiteY12" fmla="*/ 102451 h 9845460"/>
              <a:gd name="connsiteX13" fmla="*/ 4782086 w 9177188"/>
              <a:gd name="connsiteY13" fmla="*/ 0 h 9845460"/>
              <a:gd name="connsiteX0" fmla="*/ 0 w 4395102"/>
              <a:gd name="connsiteY0" fmla="*/ 0 h 3355652"/>
              <a:gd name="connsiteX1" fmla="*/ 396686 w 4395102"/>
              <a:gd name="connsiteY1" fmla="*/ 72751 h 3355652"/>
              <a:gd name="connsiteX2" fmla="*/ 4315998 w 4395102"/>
              <a:gd name="connsiteY2" fmla="*/ 3180682 h 3355652"/>
              <a:gd name="connsiteX3" fmla="*/ 4395102 w 4395102"/>
              <a:gd name="connsiteY3" fmla="*/ 3355652 h 3355652"/>
              <a:gd name="connsiteX4" fmla="*/ 4360726 w 4395102"/>
              <a:gd name="connsiteY4" fmla="*/ 3340111 h 3355652"/>
              <a:gd name="connsiteX5" fmla="*/ 2132438 w 4395102"/>
              <a:gd name="connsiteY5" fmla="*/ 2890240 h 3355652"/>
              <a:gd name="connsiteX6" fmla="*/ 1837848 w 4395102"/>
              <a:gd name="connsiteY6" fmla="*/ 2897689 h 3355652"/>
              <a:gd name="connsiteX7" fmla="*/ 1648344 w 4395102"/>
              <a:gd name="connsiteY7" fmla="*/ 2912099 h 3355652"/>
              <a:gd name="connsiteX8" fmla="*/ 1603940 w 4395102"/>
              <a:gd name="connsiteY8" fmla="*/ 2719705 h 3355652"/>
              <a:gd name="connsiteX9" fmla="*/ 107458 w 4395102"/>
              <a:gd name="connsiteY9" fmla="*/ 102451 h 3355652"/>
              <a:gd name="connsiteX10" fmla="*/ 0 w 4395102"/>
              <a:gd name="connsiteY10" fmla="*/ 0 h 3355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95102" h="3355652">
                <a:moveTo>
                  <a:pt x="0" y="0"/>
                </a:moveTo>
                <a:lnTo>
                  <a:pt x="396686" y="72751"/>
                </a:lnTo>
                <a:cubicBezTo>
                  <a:pt x="2127968" y="455339"/>
                  <a:pt x="3564816" y="1621726"/>
                  <a:pt x="4315998" y="3180682"/>
                </a:cubicBezTo>
                <a:lnTo>
                  <a:pt x="4395102" y="3355652"/>
                </a:lnTo>
                <a:lnTo>
                  <a:pt x="4360726" y="3340111"/>
                </a:lnTo>
                <a:cubicBezTo>
                  <a:pt x="3675838" y="3050428"/>
                  <a:pt x="2922846" y="2890240"/>
                  <a:pt x="2132438" y="2890240"/>
                </a:cubicBezTo>
                <a:cubicBezTo>
                  <a:pt x="2033638" y="2890240"/>
                  <a:pt x="1935420" y="2892743"/>
                  <a:pt x="1837848" y="2897689"/>
                </a:cubicBezTo>
                <a:lnTo>
                  <a:pt x="1648344" y="2912099"/>
                </a:lnTo>
                <a:lnTo>
                  <a:pt x="1603940" y="2719705"/>
                </a:lnTo>
                <a:cubicBezTo>
                  <a:pt x="1345102" y="1713686"/>
                  <a:pt x="819678" y="814671"/>
                  <a:pt x="107458" y="10245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3554"/>
            <a:endParaRPr lang="ru-RU" sz="675">
              <a:solidFill>
                <a:srgbClr val="FFFFFF"/>
              </a:solidFill>
              <a:latin typeface="Calibri Light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202021" y="1170846"/>
            <a:ext cx="11765843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Crimson Logic-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те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en-US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Bold BI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оқуд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өтті</a:t>
            </a:r>
            <a:endParaRPr lang="ru-RU" dirty="0">
              <a:solidFill>
                <a:prstClr val="black"/>
              </a:solidFill>
              <a:latin typeface="Century Gothic" pitchFamily="34" charset="0"/>
              <a:cs typeface="Times New Roman" pitchFamily="18" charset="0"/>
            </a:endParaRP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10 критерий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МО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цифрлық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етілу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турал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сеп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;</a:t>
            </a: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еткізушілердің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регламент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, МТҚ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үші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ақпараттық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уіпсіздік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ұжатта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айындал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;</a:t>
            </a: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21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асқармад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цифрлық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менеджерлердің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ұстанымдар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екітілд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;</a:t>
            </a: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Кейст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од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әр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ұмыс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істе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үші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en-US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ER-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иаграммалар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ұр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(ОМО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азалар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од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әр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ұрақта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айындала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; ОМО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рекқорлар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рал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әне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кейс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үші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өріст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мен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кестел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таңдап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алын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);</a:t>
            </a: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Smart Data </a:t>
            </a:r>
            <a:r>
              <a:rPr lang="en-US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Ukimet</a:t>
            </a:r>
            <a:r>
              <a:rPr lang="en-US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рект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оймасының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ерверіне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кір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мүмкіндіг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мтамасыз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тілге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;</a:t>
            </a: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алалық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рект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сеп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(131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көрсеткіш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) ЦДИАӨМ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үші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сеп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нысанынд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асалды</a:t>
            </a:r>
            <a:endParaRPr lang="ru-RU" dirty="0">
              <a:solidFill>
                <a:prstClr val="black"/>
              </a:solidFill>
              <a:latin typeface="Century Gothic" pitchFamily="34" charset="0"/>
              <a:cs typeface="Times New Roman" pitchFamily="18" charset="0"/>
            </a:endParaRPr>
          </a:p>
          <a:p>
            <a:pPr marL="342891" indent="-342891" algn="just" defTabSz="914377"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  <a:latin typeface="Century Gothic" pitchFamily="34" charset="0"/>
              <a:cs typeface="Times New Roman" pitchFamily="18" charset="0"/>
            </a:endParaRPr>
          </a:p>
          <a:p>
            <a:pPr marL="285750" indent="-285750" algn="just" defTabSz="914377">
              <a:buFont typeface="Wingdings" panose="05000000000000000000" pitchFamily="2" charset="2"/>
              <a:buChar char="Ø"/>
            </a:pP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Ұсынылғ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к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кейс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іске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осыл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:</a:t>
            </a:r>
          </a:p>
          <a:p>
            <a:pPr algn="just" defTabSz="914377"/>
            <a:r>
              <a:rPr lang="ru-RU" b="1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№ 1 Кейс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туденттерд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ұмысқ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орналастыр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(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пайдаланылаты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рект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: БҒМ – НОБД,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ңбекмин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– РТ, ЕҚТА,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Әділетмин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-АХАЖ, ЗТ МДҚ)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ұмысқ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орналастырылғ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,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өзін-өз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ұмыспе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мтыға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әне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т. б.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аномалиялард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анықта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);</a:t>
            </a:r>
          </a:p>
          <a:p>
            <a:pPr algn="just" defTabSz="914377"/>
            <a:r>
              <a:rPr lang="ru-RU" b="1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№ 2 Кейс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нсаулық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ақта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аласынд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халықтың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көш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–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он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(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пайдаланылатын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рект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: ДСМ-БХТ, Алматы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ласының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еректер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)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емханағ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/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әрігерге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үктелуді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анықта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,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былда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нормалар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/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нақты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қабылдау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,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санатта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бойынша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дәрігерлер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саны </a:t>
            </a:r>
            <a:r>
              <a:rPr lang="ru-RU" dirty="0" err="1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және</a:t>
            </a:r>
            <a:r>
              <a:rPr lang="ru-RU" dirty="0">
                <a:solidFill>
                  <a:prstClr val="black"/>
                </a:solidFill>
                <a:latin typeface="Century Gothic" pitchFamily="34" charset="0"/>
                <a:cs typeface="Times New Roman" pitchFamily="18" charset="0"/>
              </a:rPr>
              <a:t> т. б. ;</a:t>
            </a:r>
          </a:p>
        </p:txBody>
      </p:sp>
      <p:pic>
        <p:nvPicPr>
          <p:cNvPr id="42" name="Рисунок 41" descr="wt.png">
            <a:extLst>
              <a:ext uri="{FF2B5EF4-FFF2-40B4-BE49-F238E27FC236}">
                <a16:creationId xmlns:a16="http://schemas.microsoft.com/office/drawing/2014/main" id="{7A2D5813-6AF5-4A91-B6B7-B8BC80DED96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376987" y="386855"/>
            <a:ext cx="457200" cy="457200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202021" y="1107438"/>
            <a:ext cx="117658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891" indent="-342891" algn="just" defTabSz="914377">
              <a:buFont typeface="Wingdings" panose="05000000000000000000" pitchFamily="2" charset="2"/>
              <a:buChar char="Ø"/>
            </a:pPr>
            <a:endParaRPr lang="en-US" dirty="0">
              <a:solidFill>
                <a:prstClr val="black"/>
              </a:solidFill>
              <a:latin typeface="Century Gothic" pitchFamily="34" charset="0"/>
              <a:cs typeface="Times New Roman" pitchFamily="18" charset="0"/>
            </a:endParaRPr>
          </a:p>
          <a:p>
            <a:pPr marL="342891" indent="-342891" algn="just" defTabSz="914377">
              <a:buFont typeface="Wingdings" panose="05000000000000000000" pitchFamily="2" charset="2"/>
              <a:buChar char="Ø"/>
            </a:pPr>
            <a:endParaRPr lang="ru-RU" dirty="0">
              <a:solidFill>
                <a:prstClr val="black"/>
              </a:solidFill>
              <a:latin typeface="Century Gothic" pitchFamily="34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4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4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  <p:bldP spid="63" grpId="0" animBg="1"/>
      <p:bldP spid="101" grpId="0" animBg="1"/>
      <p:bldP spid="102" grpId="0" animBg="1"/>
      <p:bldP spid="103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TextBox 72">
            <a:extLst>
              <a:ext uri="{FF2B5EF4-FFF2-40B4-BE49-F238E27FC236}">
                <a16:creationId xmlns:a16="http://schemas.microsoft.com/office/drawing/2014/main" id="{1A2D0240-863D-432F-A077-7B5C2CD09217}"/>
              </a:ext>
            </a:extLst>
          </p:cNvPr>
          <p:cNvSpPr txBox="1"/>
          <p:nvPr/>
        </p:nvSpPr>
        <p:spPr>
          <a:xfrm>
            <a:off x="733367" y="990600"/>
            <a:ext cx="5231683" cy="43698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8" algn="just"/>
            <a:endParaRPr lang="ru-RU" sz="1400" b="1" dirty="0">
              <a:latin typeface="Century Gothic" panose="020B0502020202020204" pitchFamily="34" charset="0"/>
            </a:endParaRPr>
          </a:p>
          <a:p>
            <a:r>
              <a:rPr lang="ru-RU" sz="2400" b="1" dirty="0">
                <a:latin typeface="Century Gothic" panose="020B0502020202020204" pitchFamily="34" charset="0"/>
              </a:rPr>
              <a:t>Алматы </a:t>
            </a:r>
            <a:r>
              <a:rPr lang="ru-RU" sz="2400" b="1" dirty="0" err="1">
                <a:latin typeface="Century Gothic" panose="020B0502020202020204" pitchFamily="34" charset="0"/>
              </a:rPr>
              <a:t>қаласы</a:t>
            </a:r>
            <a:r>
              <a:rPr lang="ru-RU" sz="2400" b="1" dirty="0">
                <a:latin typeface="Century Gothic" panose="020B0502020202020204" pitchFamily="34" charset="0"/>
              </a:rPr>
              <a:t> «Алматы </a:t>
            </a:r>
            <a:r>
              <a:rPr lang="ru-RU" sz="2400" b="1" dirty="0" err="1">
                <a:latin typeface="Century Gothic" panose="020B0502020202020204" pitchFamily="34" charset="0"/>
              </a:rPr>
              <a:t>қаласының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latin typeface="Century Gothic" panose="020B0502020202020204" pitchFamily="34" charset="0"/>
              </a:rPr>
              <a:t>бірыңғай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latin typeface="Century Gothic" panose="020B0502020202020204" pitchFamily="34" charset="0"/>
              </a:rPr>
              <a:t>деректер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latin typeface="Century Gothic" panose="020B0502020202020204" pitchFamily="34" charset="0"/>
              </a:rPr>
              <a:t>қоймасы</a:t>
            </a:r>
            <a:r>
              <a:rPr lang="ru-RU" sz="2400" b="1" dirty="0">
                <a:latin typeface="Century Gothic" panose="020B0502020202020204" pitchFamily="34" charset="0"/>
              </a:rPr>
              <a:t>» </a:t>
            </a:r>
            <a:r>
              <a:rPr lang="ru-RU" sz="2400" b="1" dirty="0" err="1">
                <a:latin typeface="Century Gothic" panose="020B0502020202020204" pitchFamily="34" charset="0"/>
              </a:rPr>
              <a:t>жобасымен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en-US" sz="2400" b="1" dirty="0">
                <a:latin typeface="Century Gothic" panose="020B0502020202020204" pitchFamily="34" charset="0"/>
              </a:rPr>
              <a:t>IEEE Smart Cities Awards Contest 2022 </a:t>
            </a:r>
            <a:r>
              <a:rPr lang="ru-RU" sz="2400" b="1" dirty="0" err="1">
                <a:latin typeface="Century Gothic" panose="020B0502020202020204" pitchFamily="34" charset="0"/>
              </a:rPr>
              <a:t>халықаралық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latin typeface="Century Gothic" panose="020B0502020202020204" pitchFamily="34" charset="0"/>
              </a:rPr>
              <a:t>байқауының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latin typeface="Century Gothic" panose="020B0502020202020204" pitchFamily="34" charset="0"/>
              </a:rPr>
              <a:t>финалына</a:t>
            </a:r>
            <a:r>
              <a:rPr lang="ru-RU" sz="2400" b="1" dirty="0">
                <a:latin typeface="Century Gothic" panose="020B0502020202020204" pitchFamily="34" charset="0"/>
              </a:rPr>
              <a:t> </a:t>
            </a:r>
            <a:r>
              <a:rPr lang="ru-RU" sz="2400" b="1" dirty="0" err="1">
                <a:latin typeface="Century Gothic" panose="020B0502020202020204" pitchFamily="34" charset="0"/>
              </a:rPr>
              <a:t>шықты</a:t>
            </a:r>
            <a:r>
              <a:rPr lang="ru-RU" sz="2400" b="1" dirty="0">
                <a:latin typeface="Century Gothic" panose="020B0502020202020204" pitchFamily="34" charset="0"/>
              </a:rPr>
              <a:t>.</a:t>
            </a:r>
          </a:p>
          <a:p>
            <a:endParaRPr lang="en-US" sz="1333" b="1" dirty="0">
              <a:latin typeface="Century Gothic" panose="020B0502020202020204" pitchFamily="34" charset="0"/>
            </a:endParaRPr>
          </a:p>
          <a:p>
            <a:r>
              <a:rPr lang="en-US" sz="1333" b="1" dirty="0">
                <a:latin typeface="Century Gothic" panose="020B0502020202020204" pitchFamily="34" charset="0"/>
              </a:rPr>
              <a:t>IEEE International Smart Cities Conference 2022 </a:t>
            </a:r>
            <a:r>
              <a:rPr lang="ru-RU" sz="1333" dirty="0" err="1">
                <a:latin typeface="Century Gothic" panose="020B0502020202020204" pitchFamily="34" charset="0"/>
              </a:rPr>
              <a:t>халықаралық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конференциясында</a:t>
            </a:r>
            <a:r>
              <a:rPr lang="ru-RU" sz="1333" dirty="0">
                <a:latin typeface="Century Gothic" panose="020B0502020202020204" pitchFamily="34" charset="0"/>
              </a:rPr>
              <a:t> БДҚ-</a:t>
            </a:r>
            <a:r>
              <a:rPr lang="ru-RU" sz="1333" dirty="0" err="1">
                <a:latin typeface="Century Gothic" panose="020B0502020202020204" pitchFamily="34" charset="0"/>
              </a:rPr>
              <a:t>ны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айту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және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көрсету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мүмкіндігі</a:t>
            </a:r>
            <a:r>
              <a:rPr lang="ru-RU" sz="1333" dirty="0">
                <a:latin typeface="Century Gothic" panose="020B0502020202020204" pitchFamily="34" charset="0"/>
              </a:rPr>
              <a:t>, </a:t>
            </a:r>
            <a:r>
              <a:rPr lang="ru-RU" sz="1333" dirty="0" err="1">
                <a:latin typeface="Century Gothic" panose="020B0502020202020204" pitchFamily="34" charset="0"/>
              </a:rPr>
              <a:t>ол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практиктерді</a:t>
            </a:r>
            <a:r>
              <a:rPr lang="ru-RU" sz="1333" dirty="0">
                <a:latin typeface="Century Gothic" panose="020B0502020202020204" pitchFamily="34" charset="0"/>
              </a:rPr>
              <a:t>, </a:t>
            </a:r>
            <a:r>
              <a:rPr lang="ru-RU" sz="1333" dirty="0" err="1">
                <a:latin typeface="Century Gothic" panose="020B0502020202020204" pitchFamily="34" charset="0"/>
              </a:rPr>
              <a:t>қалалық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саясаткерлер</a:t>
            </a:r>
            <a:r>
              <a:rPr lang="ru-RU" sz="1333" dirty="0">
                <a:latin typeface="Century Gothic" panose="020B0502020202020204" pitchFamily="34" charset="0"/>
              </a:rPr>
              <a:t> мен </a:t>
            </a:r>
            <a:r>
              <a:rPr lang="ru-RU" sz="1333" dirty="0" err="1">
                <a:latin typeface="Century Gothic" panose="020B0502020202020204" pitchFamily="34" charset="0"/>
              </a:rPr>
              <a:t>әкімшілерді</a:t>
            </a:r>
            <a:r>
              <a:rPr lang="ru-RU" sz="1333" dirty="0">
                <a:latin typeface="Century Gothic" panose="020B0502020202020204" pitchFamily="34" charset="0"/>
              </a:rPr>
              <a:t>, </a:t>
            </a:r>
            <a:r>
              <a:rPr lang="ru-RU" sz="1333" dirty="0" err="1">
                <a:latin typeface="Century Gothic" panose="020B0502020202020204" pitchFamily="34" charset="0"/>
              </a:rPr>
              <a:t>инфрақұрылым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операторларын</a:t>
            </a:r>
            <a:r>
              <a:rPr lang="ru-RU" sz="1333" dirty="0">
                <a:latin typeface="Century Gothic" panose="020B0502020202020204" pitchFamily="34" charset="0"/>
              </a:rPr>
              <a:t>, </a:t>
            </a:r>
            <a:r>
              <a:rPr lang="ru-RU" sz="1333" dirty="0" err="1">
                <a:latin typeface="Century Gothic" panose="020B0502020202020204" pitchFamily="34" charset="0"/>
              </a:rPr>
              <a:t>өнеркәсіп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өкілдері</a:t>
            </a:r>
            <a:r>
              <a:rPr lang="ru-RU" sz="1333" dirty="0">
                <a:latin typeface="Century Gothic" panose="020B0502020202020204" pitchFamily="34" charset="0"/>
              </a:rPr>
              <a:t> мен </a:t>
            </a:r>
            <a:r>
              <a:rPr lang="ru-RU" sz="1333" dirty="0" err="1">
                <a:latin typeface="Century Gothic" panose="020B0502020202020204" pitchFamily="34" charset="0"/>
              </a:rPr>
              <a:t>зерттеушілерді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технологиялар</a:t>
            </a:r>
            <a:r>
              <a:rPr lang="ru-RU" sz="1333" dirty="0">
                <a:latin typeface="Century Gothic" panose="020B0502020202020204" pitchFamily="34" charset="0"/>
              </a:rPr>
              <a:t> мен </a:t>
            </a:r>
            <a:r>
              <a:rPr lang="ru-RU" sz="1333" dirty="0" err="1">
                <a:latin typeface="Century Gothic" panose="020B0502020202020204" pitchFamily="34" charset="0"/>
              </a:rPr>
              <a:t>қосымшаларды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ұсыну</a:t>
            </a:r>
            <a:r>
              <a:rPr lang="ru-RU" sz="1333" dirty="0">
                <a:latin typeface="Century Gothic" panose="020B0502020202020204" pitchFamily="34" charset="0"/>
              </a:rPr>
              <a:t>, </a:t>
            </a:r>
            <a:r>
              <a:rPr lang="ru-RU" sz="1333" dirty="0" err="1">
                <a:latin typeface="Century Gothic" panose="020B0502020202020204" pitchFamily="34" charset="0"/>
              </a:rPr>
              <a:t>ақылды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қалаларға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арналған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ағымдағы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және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болашақ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қосымшалар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туралы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өз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тәжірибелерімен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және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пікірлерімен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бөлісу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үшін</a:t>
            </a:r>
            <a:r>
              <a:rPr lang="ru-RU" sz="1333" dirty="0">
                <a:latin typeface="Century Gothic" panose="020B0502020202020204" pitchFamily="34" charset="0"/>
              </a:rPr>
              <a:t> </a:t>
            </a:r>
            <a:r>
              <a:rPr lang="ru-RU" sz="1333" dirty="0" err="1">
                <a:latin typeface="Century Gothic" panose="020B0502020202020204" pitchFamily="34" charset="0"/>
              </a:rPr>
              <a:t>біріктіреді</a:t>
            </a:r>
            <a:r>
              <a:rPr lang="ru-RU" sz="1333" dirty="0">
                <a:latin typeface="Century Gothic" panose="020B0502020202020204" pitchFamily="34" charset="0"/>
              </a:rPr>
              <a:t>.</a:t>
            </a:r>
            <a:endParaRPr lang="en-US" sz="1333" dirty="0">
              <a:latin typeface="Century Gothic" panose="020B0502020202020204" pitchFamily="34" charset="0"/>
            </a:endParaRPr>
          </a:p>
        </p:txBody>
      </p:sp>
      <p:sp>
        <p:nvSpPr>
          <p:cNvPr id="7" name="object 2"/>
          <p:cNvSpPr/>
          <p:nvPr/>
        </p:nvSpPr>
        <p:spPr>
          <a:xfrm>
            <a:off x="356335" y="308440"/>
            <a:ext cx="409359" cy="5004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8" name="object 3"/>
          <p:cNvSpPr/>
          <p:nvPr/>
        </p:nvSpPr>
        <p:spPr>
          <a:xfrm>
            <a:off x="933432" y="434159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84" y="20205"/>
                </a:moveTo>
                <a:lnTo>
                  <a:pt x="664629" y="20205"/>
                </a:lnTo>
                <a:lnTo>
                  <a:pt x="664629" y="68656"/>
                </a:lnTo>
                <a:lnTo>
                  <a:pt x="664921" y="68656"/>
                </a:lnTo>
                <a:lnTo>
                  <a:pt x="670026" y="69062"/>
                </a:lnTo>
                <a:lnTo>
                  <a:pt x="676922" y="69265"/>
                </a:lnTo>
                <a:lnTo>
                  <a:pt x="692061" y="69265"/>
                </a:lnTo>
                <a:lnTo>
                  <a:pt x="696595" y="68186"/>
                </a:lnTo>
                <a:lnTo>
                  <a:pt x="701903" y="63868"/>
                </a:lnTo>
                <a:lnTo>
                  <a:pt x="702331" y="62598"/>
                </a:lnTo>
                <a:lnTo>
                  <a:pt x="684326" y="62598"/>
                </a:lnTo>
                <a:lnTo>
                  <a:pt x="672884" y="62496"/>
                </a:lnTo>
                <a:lnTo>
                  <a:pt x="672884" y="45275"/>
                </a:lnTo>
                <a:lnTo>
                  <a:pt x="702149" y="45275"/>
                </a:lnTo>
                <a:lnTo>
                  <a:pt x="701878" y="44488"/>
                </a:lnTo>
                <a:lnTo>
                  <a:pt x="696429" y="40106"/>
                </a:lnTo>
                <a:lnTo>
                  <a:pt x="691502" y="39001"/>
                </a:lnTo>
                <a:lnTo>
                  <a:pt x="672884" y="39001"/>
                </a:lnTo>
                <a:lnTo>
                  <a:pt x="672884" y="20205"/>
                </a:lnTo>
                <a:close/>
              </a:path>
              <a:path w="720725" h="70484">
                <a:moveTo>
                  <a:pt x="702149" y="45275"/>
                </a:moveTo>
                <a:lnTo>
                  <a:pt x="688314" y="45275"/>
                </a:lnTo>
                <a:lnTo>
                  <a:pt x="691032" y="45885"/>
                </a:lnTo>
                <a:lnTo>
                  <a:pt x="693940" y="48348"/>
                </a:lnTo>
                <a:lnTo>
                  <a:pt x="694677" y="50584"/>
                </a:lnTo>
                <a:lnTo>
                  <a:pt x="694677" y="57353"/>
                </a:lnTo>
                <a:lnTo>
                  <a:pt x="693928" y="59689"/>
                </a:lnTo>
                <a:lnTo>
                  <a:pt x="690943" y="62014"/>
                </a:lnTo>
                <a:lnTo>
                  <a:pt x="688238" y="62598"/>
                </a:lnTo>
                <a:lnTo>
                  <a:pt x="702331" y="62598"/>
                </a:lnTo>
                <a:lnTo>
                  <a:pt x="703237" y="59905"/>
                </a:lnTo>
                <a:lnTo>
                  <a:pt x="703210" y="48348"/>
                </a:lnTo>
                <a:lnTo>
                  <a:pt x="702149" y="45275"/>
                </a:lnTo>
                <a:close/>
              </a:path>
              <a:path w="720725" h="70484">
                <a:moveTo>
                  <a:pt x="720648" y="20205"/>
                </a:moveTo>
                <a:lnTo>
                  <a:pt x="712089" y="20205"/>
                </a:lnTo>
                <a:lnTo>
                  <a:pt x="712089" y="68656"/>
                </a:lnTo>
                <a:lnTo>
                  <a:pt x="720648" y="68656"/>
                </a:lnTo>
                <a:lnTo>
                  <a:pt x="720648" y="20205"/>
                </a:lnTo>
                <a:close/>
              </a:path>
              <a:path w="720725" h="70484">
                <a:moveTo>
                  <a:pt x="642734" y="19011"/>
                </a:moveTo>
                <a:lnTo>
                  <a:pt x="628015" y="19011"/>
                </a:lnTo>
                <a:lnTo>
                  <a:pt x="622084" y="20916"/>
                </a:lnTo>
                <a:lnTo>
                  <a:pt x="615111" y="28549"/>
                </a:lnTo>
                <a:lnTo>
                  <a:pt x="613371" y="35090"/>
                </a:lnTo>
                <a:lnTo>
                  <a:pt x="613371" y="53733"/>
                </a:lnTo>
                <a:lnTo>
                  <a:pt x="615099" y="60324"/>
                </a:lnTo>
                <a:lnTo>
                  <a:pt x="621995" y="67944"/>
                </a:lnTo>
                <a:lnTo>
                  <a:pt x="627938" y="69862"/>
                </a:lnTo>
                <a:lnTo>
                  <a:pt x="642670" y="69862"/>
                </a:lnTo>
                <a:lnTo>
                  <a:pt x="648182" y="69024"/>
                </a:lnTo>
                <a:lnTo>
                  <a:pt x="652881" y="67373"/>
                </a:lnTo>
                <a:lnTo>
                  <a:pt x="652222" y="62699"/>
                </a:lnTo>
                <a:lnTo>
                  <a:pt x="631913" y="62699"/>
                </a:lnTo>
                <a:lnTo>
                  <a:pt x="627875" y="61404"/>
                </a:lnTo>
                <a:lnTo>
                  <a:pt x="623366" y="56222"/>
                </a:lnTo>
                <a:lnTo>
                  <a:pt x="622236" y="51409"/>
                </a:lnTo>
                <a:lnTo>
                  <a:pt x="622236" y="37414"/>
                </a:lnTo>
                <a:lnTo>
                  <a:pt x="623379" y="32638"/>
                </a:lnTo>
                <a:lnTo>
                  <a:pt x="627964" y="27470"/>
                </a:lnTo>
                <a:lnTo>
                  <a:pt x="631977" y="26174"/>
                </a:lnTo>
                <a:lnTo>
                  <a:pt x="651018" y="26174"/>
                </a:lnTo>
                <a:lnTo>
                  <a:pt x="651979" y="21297"/>
                </a:lnTo>
                <a:lnTo>
                  <a:pt x="647941" y="19773"/>
                </a:lnTo>
                <a:lnTo>
                  <a:pt x="642734" y="19011"/>
                </a:lnTo>
                <a:close/>
              </a:path>
              <a:path w="720725" h="70484">
                <a:moveTo>
                  <a:pt x="652081" y="61696"/>
                </a:moveTo>
                <a:lnTo>
                  <a:pt x="647903" y="62356"/>
                </a:lnTo>
                <a:lnTo>
                  <a:pt x="643128" y="62699"/>
                </a:lnTo>
                <a:lnTo>
                  <a:pt x="652222" y="62699"/>
                </a:lnTo>
                <a:lnTo>
                  <a:pt x="652081" y="61696"/>
                </a:lnTo>
                <a:close/>
              </a:path>
              <a:path w="720725" h="70484">
                <a:moveTo>
                  <a:pt x="651018" y="26174"/>
                </a:moveTo>
                <a:lnTo>
                  <a:pt x="642137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8" y="26174"/>
                </a:lnTo>
                <a:close/>
              </a:path>
              <a:path w="720725" h="70484">
                <a:moveTo>
                  <a:pt x="599334" y="26174"/>
                </a:moveTo>
                <a:lnTo>
                  <a:pt x="585647" y="26174"/>
                </a:lnTo>
                <a:lnTo>
                  <a:pt x="588200" y="26796"/>
                </a:lnTo>
                <a:lnTo>
                  <a:pt x="589584" y="28066"/>
                </a:lnTo>
                <a:lnTo>
                  <a:pt x="590994" y="29324"/>
                </a:lnTo>
                <a:lnTo>
                  <a:pt x="591718" y="31483"/>
                </a:lnTo>
                <a:lnTo>
                  <a:pt x="591781" y="38811"/>
                </a:lnTo>
                <a:lnTo>
                  <a:pt x="567334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35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390" y="68681"/>
                </a:lnTo>
                <a:lnTo>
                  <a:pt x="587362" y="65163"/>
                </a:lnTo>
                <a:lnTo>
                  <a:pt x="590257" y="63093"/>
                </a:lnTo>
                <a:lnTo>
                  <a:pt x="590974" y="62356"/>
                </a:lnTo>
                <a:lnTo>
                  <a:pt x="576846" y="62356"/>
                </a:lnTo>
                <a:lnTo>
                  <a:pt x="574268" y="62293"/>
                </a:lnTo>
                <a:lnTo>
                  <a:pt x="571677" y="62293"/>
                </a:lnTo>
                <a:lnTo>
                  <a:pt x="569772" y="61709"/>
                </a:lnTo>
                <a:lnTo>
                  <a:pt x="567309" y="59385"/>
                </a:lnTo>
                <a:lnTo>
                  <a:pt x="566712" y="57543"/>
                </a:lnTo>
                <a:lnTo>
                  <a:pt x="566712" y="47701"/>
                </a:lnTo>
                <a:lnTo>
                  <a:pt x="568833" y="45478"/>
                </a:lnTo>
                <a:lnTo>
                  <a:pt x="573087" y="45275"/>
                </a:lnTo>
                <a:lnTo>
                  <a:pt x="600240" y="45275"/>
                </a:lnTo>
                <a:lnTo>
                  <a:pt x="600240" y="28892"/>
                </a:lnTo>
                <a:lnTo>
                  <a:pt x="599334" y="26174"/>
                </a:lnTo>
                <a:close/>
              </a:path>
              <a:path w="720725" h="70484">
                <a:moveTo>
                  <a:pt x="600240" y="60705"/>
                </a:moveTo>
                <a:lnTo>
                  <a:pt x="592582" y="60705"/>
                </a:lnTo>
                <a:lnTo>
                  <a:pt x="593572" y="68656"/>
                </a:lnTo>
                <a:lnTo>
                  <a:pt x="600240" y="68656"/>
                </a:lnTo>
                <a:lnTo>
                  <a:pt x="600240" y="60705"/>
                </a:lnTo>
                <a:close/>
              </a:path>
              <a:path w="720725" h="70484">
                <a:moveTo>
                  <a:pt x="600240" y="45275"/>
                </a:moveTo>
                <a:lnTo>
                  <a:pt x="591781" y="45275"/>
                </a:lnTo>
                <a:lnTo>
                  <a:pt x="591781" y="55029"/>
                </a:lnTo>
                <a:lnTo>
                  <a:pt x="589064" y="57416"/>
                </a:lnTo>
                <a:lnTo>
                  <a:pt x="586117" y="59245"/>
                </a:lnTo>
                <a:lnTo>
                  <a:pt x="579742" y="61760"/>
                </a:lnTo>
                <a:lnTo>
                  <a:pt x="576846" y="62356"/>
                </a:lnTo>
                <a:lnTo>
                  <a:pt x="590974" y="62356"/>
                </a:lnTo>
                <a:lnTo>
                  <a:pt x="592582" y="60705"/>
                </a:lnTo>
                <a:lnTo>
                  <a:pt x="600240" y="60705"/>
                </a:lnTo>
                <a:lnTo>
                  <a:pt x="600240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088" y="19011"/>
                </a:lnTo>
                <a:lnTo>
                  <a:pt x="569264" y="19735"/>
                </a:lnTo>
                <a:lnTo>
                  <a:pt x="560235" y="21196"/>
                </a:lnTo>
                <a:lnTo>
                  <a:pt x="561035" y="27470"/>
                </a:lnTo>
                <a:lnTo>
                  <a:pt x="570255" y="26606"/>
                </a:lnTo>
                <a:lnTo>
                  <a:pt x="577227" y="26174"/>
                </a:lnTo>
                <a:lnTo>
                  <a:pt x="599334" y="26174"/>
                </a:lnTo>
                <a:lnTo>
                  <a:pt x="598906" y="24891"/>
                </a:lnTo>
                <a:lnTo>
                  <a:pt x="593521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31" y="20205"/>
                </a:lnTo>
                <a:lnTo>
                  <a:pt x="517347" y="21132"/>
                </a:lnTo>
                <a:lnTo>
                  <a:pt x="513359" y="24841"/>
                </a:lnTo>
                <a:lnTo>
                  <a:pt x="512140" y="27698"/>
                </a:lnTo>
                <a:lnTo>
                  <a:pt x="511683" y="31546"/>
                </a:lnTo>
                <a:lnTo>
                  <a:pt x="510413" y="43751"/>
                </a:lnTo>
                <a:lnTo>
                  <a:pt x="508990" y="51879"/>
                </a:lnTo>
                <a:lnTo>
                  <a:pt x="498843" y="62699"/>
                </a:lnTo>
                <a:lnTo>
                  <a:pt x="499732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85" y="29108"/>
                </a:lnTo>
                <a:lnTo>
                  <a:pt x="522363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1" y="26174"/>
                </a:moveTo>
                <a:lnTo>
                  <a:pt x="474789" y="26174"/>
                </a:lnTo>
                <a:lnTo>
                  <a:pt x="477354" y="26796"/>
                </a:lnTo>
                <a:lnTo>
                  <a:pt x="480136" y="29324"/>
                </a:lnTo>
                <a:lnTo>
                  <a:pt x="480860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86" y="39852"/>
                </a:lnTo>
                <a:lnTo>
                  <a:pt x="448475" y="44030"/>
                </a:lnTo>
                <a:lnTo>
                  <a:pt x="447294" y="46964"/>
                </a:lnTo>
                <a:lnTo>
                  <a:pt x="447294" y="60337"/>
                </a:lnTo>
                <a:lnTo>
                  <a:pt x="448589" y="63665"/>
                </a:lnTo>
                <a:lnTo>
                  <a:pt x="453758" y="68376"/>
                </a:lnTo>
                <a:lnTo>
                  <a:pt x="457276" y="69557"/>
                </a:lnTo>
                <a:lnTo>
                  <a:pt x="465759" y="69557"/>
                </a:lnTo>
                <a:lnTo>
                  <a:pt x="469531" y="68681"/>
                </a:lnTo>
                <a:lnTo>
                  <a:pt x="476504" y="65163"/>
                </a:lnTo>
                <a:lnTo>
                  <a:pt x="479412" y="63093"/>
                </a:lnTo>
                <a:lnTo>
                  <a:pt x="480125" y="62356"/>
                </a:lnTo>
                <a:lnTo>
                  <a:pt x="466001" y="62356"/>
                </a:lnTo>
                <a:lnTo>
                  <a:pt x="463423" y="62293"/>
                </a:lnTo>
                <a:lnTo>
                  <a:pt x="460832" y="62293"/>
                </a:lnTo>
                <a:lnTo>
                  <a:pt x="458914" y="61709"/>
                </a:lnTo>
                <a:lnTo>
                  <a:pt x="456463" y="59385"/>
                </a:lnTo>
                <a:lnTo>
                  <a:pt x="455853" y="57543"/>
                </a:lnTo>
                <a:lnTo>
                  <a:pt x="455853" y="47701"/>
                </a:lnTo>
                <a:lnTo>
                  <a:pt x="457974" y="45478"/>
                </a:lnTo>
                <a:lnTo>
                  <a:pt x="462216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1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23" y="60705"/>
                </a:lnTo>
                <a:lnTo>
                  <a:pt x="482714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05" y="57416"/>
                </a:lnTo>
                <a:lnTo>
                  <a:pt x="475246" y="59245"/>
                </a:lnTo>
                <a:lnTo>
                  <a:pt x="468896" y="61760"/>
                </a:lnTo>
                <a:lnTo>
                  <a:pt x="466001" y="62356"/>
                </a:lnTo>
                <a:lnTo>
                  <a:pt x="480125" y="62356"/>
                </a:lnTo>
                <a:lnTo>
                  <a:pt x="481723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497" y="19011"/>
                </a:moveTo>
                <a:lnTo>
                  <a:pt x="466242" y="19011"/>
                </a:lnTo>
                <a:lnTo>
                  <a:pt x="458406" y="19735"/>
                </a:lnTo>
                <a:lnTo>
                  <a:pt x="449376" y="21196"/>
                </a:lnTo>
                <a:lnTo>
                  <a:pt x="450176" y="27470"/>
                </a:lnTo>
                <a:lnTo>
                  <a:pt x="459397" y="26606"/>
                </a:lnTo>
                <a:lnTo>
                  <a:pt x="466369" y="26174"/>
                </a:lnTo>
                <a:lnTo>
                  <a:pt x="488471" y="26174"/>
                </a:lnTo>
                <a:lnTo>
                  <a:pt x="488035" y="24891"/>
                </a:lnTo>
                <a:lnTo>
                  <a:pt x="482663" y="20180"/>
                </a:lnTo>
                <a:lnTo>
                  <a:pt x="478497" y="19011"/>
                </a:lnTo>
                <a:close/>
              </a:path>
              <a:path w="720725" h="70484">
                <a:moveTo>
                  <a:pt x="405003" y="20205"/>
                </a:moveTo>
                <a:lnTo>
                  <a:pt x="396544" y="20205"/>
                </a:lnTo>
                <a:lnTo>
                  <a:pt x="396544" y="68656"/>
                </a:lnTo>
                <a:lnTo>
                  <a:pt x="405003" y="68656"/>
                </a:lnTo>
                <a:lnTo>
                  <a:pt x="404878" y="49060"/>
                </a:lnTo>
                <a:lnTo>
                  <a:pt x="404609" y="46774"/>
                </a:lnTo>
                <a:lnTo>
                  <a:pt x="427291" y="46774"/>
                </a:lnTo>
                <a:lnTo>
                  <a:pt x="418731" y="43586"/>
                </a:lnTo>
                <a:lnTo>
                  <a:pt x="418731" y="43281"/>
                </a:lnTo>
                <a:lnTo>
                  <a:pt x="426626" y="40208"/>
                </a:lnTo>
                <a:lnTo>
                  <a:pt x="404507" y="40208"/>
                </a:lnTo>
                <a:lnTo>
                  <a:pt x="404783" y="38544"/>
                </a:lnTo>
                <a:lnTo>
                  <a:pt x="404903" y="37477"/>
                </a:lnTo>
                <a:lnTo>
                  <a:pt x="405003" y="20205"/>
                </a:lnTo>
                <a:close/>
              </a:path>
              <a:path w="720725" h="70484">
                <a:moveTo>
                  <a:pt x="427291" y="46774"/>
                </a:moveTo>
                <a:lnTo>
                  <a:pt x="413169" y="46774"/>
                </a:lnTo>
                <a:lnTo>
                  <a:pt x="414413" y="46951"/>
                </a:lnTo>
                <a:lnTo>
                  <a:pt x="416674" y="47675"/>
                </a:lnTo>
                <a:lnTo>
                  <a:pt x="429780" y="68656"/>
                </a:lnTo>
                <a:lnTo>
                  <a:pt x="438645" y="68656"/>
                </a:lnTo>
                <a:lnTo>
                  <a:pt x="428586" y="47993"/>
                </a:lnTo>
                <a:lnTo>
                  <a:pt x="427291" y="46774"/>
                </a:lnTo>
                <a:close/>
              </a:path>
              <a:path w="720725" h="70484">
                <a:moveTo>
                  <a:pt x="437248" y="20205"/>
                </a:moveTo>
                <a:lnTo>
                  <a:pt x="428485" y="20205"/>
                </a:lnTo>
                <a:lnTo>
                  <a:pt x="427088" y="24053"/>
                </a:lnTo>
                <a:lnTo>
                  <a:pt x="425970" y="26936"/>
                </a:lnTo>
                <a:lnTo>
                  <a:pt x="413588" y="40208"/>
                </a:lnTo>
                <a:lnTo>
                  <a:pt x="426626" y="40208"/>
                </a:lnTo>
                <a:lnTo>
                  <a:pt x="431330" y="34061"/>
                </a:lnTo>
                <a:lnTo>
                  <a:pt x="432663" y="31699"/>
                </a:lnTo>
                <a:lnTo>
                  <a:pt x="433209" y="30479"/>
                </a:lnTo>
                <a:lnTo>
                  <a:pt x="433920" y="28765"/>
                </a:lnTo>
                <a:lnTo>
                  <a:pt x="435864" y="23926"/>
                </a:lnTo>
                <a:lnTo>
                  <a:pt x="437248" y="20205"/>
                </a:lnTo>
                <a:close/>
              </a:path>
              <a:path w="720725" h="70484">
                <a:moveTo>
                  <a:pt x="310857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07" y="68656"/>
                </a:lnTo>
                <a:lnTo>
                  <a:pt x="308025" y="69062"/>
                </a:lnTo>
                <a:lnTo>
                  <a:pt x="314909" y="69265"/>
                </a:lnTo>
                <a:lnTo>
                  <a:pt x="330034" y="69265"/>
                </a:lnTo>
                <a:lnTo>
                  <a:pt x="334581" y="68186"/>
                </a:lnTo>
                <a:lnTo>
                  <a:pt x="339890" y="63868"/>
                </a:lnTo>
                <a:lnTo>
                  <a:pt x="340317" y="62598"/>
                </a:lnTo>
                <a:lnTo>
                  <a:pt x="322313" y="62598"/>
                </a:lnTo>
                <a:lnTo>
                  <a:pt x="310857" y="62496"/>
                </a:lnTo>
                <a:lnTo>
                  <a:pt x="310857" y="45275"/>
                </a:lnTo>
                <a:lnTo>
                  <a:pt x="340126" y="45275"/>
                </a:lnTo>
                <a:lnTo>
                  <a:pt x="339852" y="44488"/>
                </a:lnTo>
                <a:lnTo>
                  <a:pt x="334416" y="40106"/>
                </a:lnTo>
                <a:lnTo>
                  <a:pt x="329476" y="39001"/>
                </a:lnTo>
                <a:lnTo>
                  <a:pt x="310857" y="39001"/>
                </a:lnTo>
                <a:lnTo>
                  <a:pt x="310857" y="20205"/>
                </a:lnTo>
                <a:close/>
              </a:path>
              <a:path w="720725" h="70484">
                <a:moveTo>
                  <a:pt x="340126" y="45275"/>
                </a:moveTo>
                <a:lnTo>
                  <a:pt x="326288" y="45275"/>
                </a:lnTo>
                <a:lnTo>
                  <a:pt x="329006" y="45885"/>
                </a:lnTo>
                <a:lnTo>
                  <a:pt x="331927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01" y="59689"/>
                </a:lnTo>
                <a:lnTo>
                  <a:pt x="328930" y="62014"/>
                </a:lnTo>
                <a:lnTo>
                  <a:pt x="326224" y="62598"/>
                </a:lnTo>
                <a:lnTo>
                  <a:pt x="340317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2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50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50" y="27165"/>
                </a:lnTo>
                <a:lnTo>
                  <a:pt x="292150" y="20205"/>
                </a:lnTo>
                <a:close/>
              </a:path>
              <a:path w="720725" h="70484">
                <a:moveTo>
                  <a:pt x="237705" y="26174"/>
                </a:moveTo>
                <a:lnTo>
                  <a:pt x="224028" y="26174"/>
                </a:lnTo>
                <a:lnTo>
                  <a:pt x="226568" y="26796"/>
                </a:lnTo>
                <a:lnTo>
                  <a:pt x="229362" y="29324"/>
                </a:lnTo>
                <a:lnTo>
                  <a:pt x="230098" y="31483"/>
                </a:lnTo>
                <a:lnTo>
                  <a:pt x="230162" y="38811"/>
                </a:lnTo>
                <a:lnTo>
                  <a:pt x="205714" y="38811"/>
                </a:lnTo>
                <a:lnTo>
                  <a:pt x="202412" y="39852"/>
                </a:lnTo>
                <a:lnTo>
                  <a:pt x="197700" y="44030"/>
                </a:lnTo>
                <a:lnTo>
                  <a:pt x="196519" y="46964"/>
                </a:lnTo>
                <a:lnTo>
                  <a:pt x="196519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02" y="69557"/>
                </a:lnTo>
                <a:lnTo>
                  <a:pt x="214998" y="69557"/>
                </a:lnTo>
                <a:lnTo>
                  <a:pt x="218770" y="68681"/>
                </a:lnTo>
                <a:lnTo>
                  <a:pt x="225729" y="65163"/>
                </a:lnTo>
                <a:lnTo>
                  <a:pt x="228638" y="63093"/>
                </a:lnTo>
                <a:lnTo>
                  <a:pt x="229355" y="62356"/>
                </a:lnTo>
                <a:lnTo>
                  <a:pt x="215239" y="62356"/>
                </a:lnTo>
                <a:lnTo>
                  <a:pt x="212648" y="62293"/>
                </a:lnTo>
                <a:lnTo>
                  <a:pt x="210070" y="62293"/>
                </a:lnTo>
                <a:lnTo>
                  <a:pt x="208153" y="61709"/>
                </a:lnTo>
                <a:lnTo>
                  <a:pt x="205701" y="59385"/>
                </a:lnTo>
                <a:lnTo>
                  <a:pt x="205092" y="57543"/>
                </a:lnTo>
                <a:lnTo>
                  <a:pt x="205092" y="47701"/>
                </a:lnTo>
                <a:lnTo>
                  <a:pt x="207213" y="45478"/>
                </a:lnTo>
                <a:lnTo>
                  <a:pt x="211455" y="45275"/>
                </a:lnTo>
                <a:lnTo>
                  <a:pt x="238620" y="45275"/>
                </a:lnTo>
                <a:lnTo>
                  <a:pt x="238620" y="28892"/>
                </a:lnTo>
                <a:lnTo>
                  <a:pt x="237705" y="26174"/>
                </a:lnTo>
                <a:close/>
              </a:path>
              <a:path w="720725" h="70484">
                <a:moveTo>
                  <a:pt x="238620" y="60705"/>
                </a:moveTo>
                <a:lnTo>
                  <a:pt x="230962" y="60705"/>
                </a:lnTo>
                <a:lnTo>
                  <a:pt x="231952" y="68656"/>
                </a:lnTo>
                <a:lnTo>
                  <a:pt x="238620" y="68656"/>
                </a:lnTo>
                <a:lnTo>
                  <a:pt x="238620" y="60705"/>
                </a:lnTo>
                <a:close/>
              </a:path>
              <a:path w="720725" h="70484">
                <a:moveTo>
                  <a:pt x="238620" y="45275"/>
                </a:moveTo>
                <a:lnTo>
                  <a:pt x="230162" y="45275"/>
                </a:lnTo>
                <a:lnTo>
                  <a:pt x="230162" y="55029"/>
                </a:lnTo>
                <a:lnTo>
                  <a:pt x="227444" y="57416"/>
                </a:lnTo>
                <a:lnTo>
                  <a:pt x="224485" y="59245"/>
                </a:lnTo>
                <a:lnTo>
                  <a:pt x="218109" y="61760"/>
                </a:lnTo>
                <a:lnTo>
                  <a:pt x="215239" y="62356"/>
                </a:lnTo>
                <a:lnTo>
                  <a:pt x="229355" y="62356"/>
                </a:lnTo>
                <a:lnTo>
                  <a:pt x="230962" y="60705"/>
                </a:lnTo>
                <a:lnTo>
                  <a:pt x="238620" y="60705"/>
                </a:lnTo>
                <a:lnTo>
                  <a:pt x="238620" y="45275"/>
                </a:lnTo>
                <a:close/>
              </a:path>
              <a:path w="720725" h="70484">
                <a:moveTo>
                  <a:pt x="227736" y="19011"/>
                </a:moveTo>
                <a:lnTo>
                  <a:pt x="215468" y="19011"/>
                </a:lnTo>
                <a:lnTo>
                  <a:pt x="207632" y="19735"/>
                </a:lnTo>
                <a:lnTo>
                  <a:pt x="198615" y="21196"/>
                </a:lnTo>
                <a:lnTo>
                  <a:pt x="199415" y="27470"/>
                </a:lnTo>
                <a:lnTo>
                  <a:pt x="208635" y="26606"/>
                </a:lnTo>
                <a:lnTo>
                  <a:pt x="215595" y="26174"/>
                </a:lnTo>
                <a:lnTo>
                  <a:pt x="237705" y="26174"/>
                </a:lnTo>
                <a:lnTo>
                  <a:pt x="237274" y="24891"/>
                </a:lnTo>
                <a:lnTo>
                  <a:pt x="231902" y="20180"/>
                </a:lnTo>
                <a:lnTo>
                  <a:pt x="227736" y="19011"/>
                </a:lnTo>
                <a:close/>
              </a:path>
              <a:path w="720725" h="70484">
                <a:moveTo>
                  <a:pt x="139369" y="20205"/>
                </a:moveTo>
                <a:lnTo>
                  <a:pt x="126771" y="20205"/>
                </a:lnTo>
                <a:lnTo>
                  <a:pt x="125679" y="21259"/>
                </a:lnTo>
                <a:lnTo>
                  <a:pt x="125679" y="23380"/>
                </a:lnTo>
                <a:lnTo>
                  <a:pt x="123685" y="68656"/>
                </a:lnTo>
                <a:lnTo>
                  <a:pt x="131445" y="68656"/>
                </a:lnTo>
                <a:lnTo>
                  <a:pt x="133248" y="26669"/>
                </a:lnTo>
                <a:lnTo>
                  <a:pt x="142323" y="26669"/>
                </a:lnTo>
                <a:lnTo>
                  <a:pt x="140995" y="22986"/>
                </a:lnTo>
                <a:lnTo>
                  <a:pt x="140474" y="21132"/>
                </a:lnTo>
                <a:lnTo>
                  <a:pt x="139369" y="20205"/>
                </a:lnTo>
                <a:close/>
              </a:path>
              <a:path w="720725" h="70484">
                <a:moveTo>
                  <a:pt x="182448" y="26669"/>
                </a:moveTo>
                <a:lnTo>
                  <a:pt x="174637" y="26669"/>
                </a:lnTo>
                <a:lnTo>
                  <a:pt x="176530" y="68656"/>
                </a:lnTo>
                <a:lnTo>
                  <a:pt x="184391" y="68656"/>
                </a:lnTo>
                <a:lnTo>
                  <a:pt x="182448" y="26669"/>
                </a:lnTo>
                <a:close/>
              </a:path>
              <a:path w="720725" h="70484">
                <a:moveTo>
                  <a:pt x="142323" y="26669"/>
                </a:moveTo>
                <a:lnTo>
                  <a:pt x="134937" y="26669"/>
                </a:lnTo>
                <a:lnTo>
                  <a:pt x="147269" y="60604"/>
                </a:lnTo>
                <a:lnTo>
                  <a:pt x="147866" y="62458"/>
                </a:lnTo>
                <a:lnTo>
                  <a:pt x="148996" y="63385"/>
                </a:lnTo>
                <a:lnTo>
                  <a:pt x="158877" y="63385"/>
                </a:lnTo>
                <a:lnTo>
                  <a:pt x="160007" y="62458"/>
                </a:lnTo>
                <a:lnTo>
                  <a:pt x="160604" y="60604"/>
                </a:lnTo>
                <a:lnTo>
                  <a:pt x="161620" y="57810"/>
                </a:lnTo>
                <a:lnTo>
                  <a:pt x="153136" y="57810"/>
                </a:lnTo>
                <a:lnTo>
                  <a:pt x="152412" y="55029"/>
                </a:lnTo>
                <a:lnTo>
                  <a:pt x="151714" y="52704"/>
                </a:lnTo>
                <a:lnTo>
                  <a:pt x="142323" y="26669"/>
                </a:lnTo>
                <a:close/>
              </a:path>
              <a:path w="720725" h="70484">
                <a:moveTo>
                  <a:pt x="181229" y="20205"/>
                </a:moveTo>
                <a:lnTo>
                  <a:pt x="168605" y="20205"/>
                </a:lnTo>
                <a:lnTo>
                  <a:pt x="167474" y="21132"/>
                </a:lnTo>
                <a:lnTo>
                  <a:pt x="166865" y="22986"/>
                </a:lnTo>
                <a:lnTo>
                  <a:pt x="156819" y="50850"/>
                </a:lnTo>
                <a:lnTo>
                  <a:pt x="156362" y="52247"/>
                </a:lnTo>
                <a:lnTo>
                  <a:pt x="155651" y="54559"/>
                </a:lnTo>
                <a:lnTo>
                  <a:pt x="154736" y="57810"/>
                </a:lnTo>
                <a:lnTo>
                  <a:pt x="161620" y="57810"/>
                </a:lnTo>
                <a:lnTo>
                  <a:pt x="172948" y="26669"/>
                </a:lnTo>
                <a:lnTo>
                  <a:pt x="182448" y="26669"/>
                </a:lnTo>
                <a:lnTo>
                  <a:pt x="182295" y="23380"/>
                </a:lnTo>
                <a:lnTo>
                  <a:pt x="182295" y="21259"/>
                </a:lnTo>
                <a:lnTo>
                  <a:pt x="181229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77" y="20205"/>
                </a:lnTo>
                <a:lnTo>
                  <a:pt x="81292" y="21132"/>
                </a:lnTo>
                <a:lnTo>
                  <a:pt x="77304" y="24841"/>
                </a:lnTo>
                <a:lnTo>
                  <a:pt x="76085" y="27698"/>
                </a:lnTo>
                <a:lnTo>
                  <a:pt x="75628" y="31546"/>
                </a:lnTo>
                <a:lnTo>
                  <a:pt x="74358" y="43751"/>
                </a:lnTo>
                <a:lnTo>
                  <a:pt x="72936" y="51879"/>
                </a:lnTo>
                <a:lnTo>
                  <a:pt x="62788" y="62699"/>
                </a:lnTo>
                <a:lnTo>
                  <a:pt x="63677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09" y="27317"/>
                </a:lnTo>
                <a:lnTo>
                  <a:pt x="87795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83" y="0"/>
                </a:lnTo>
                <a:lnTo>
                  <a:pt x="22479" y="800"/>
                </a:lnTo>
                <a:lnTo>
                  <a:pt x="22085" y="2387"/>
                </a:lnTo>
                <a:lnTo>
                  <a:pt x="0" y="68656"/>
                </a:lnTo>
                <a:lnTo>
                  <a:pt x="9042" y="68656"/>
                </a:lnTo>
                <a:lnTo>
                  <a:pt x="15824" y="47167"/>
                </a:lnTo>
                <a:lnTo>
                  <a:pt x="52731" y="47167"/>
                </a:lnTo>
                <a:lnTo>
                  <a:pt x="50213" y="39611"/>
                </a:lnTo>
                <a:lnTo>
                  <a:pt x="18199" y="39611"/>
                </a:lnTo>
                <a:lnTo>
                  <a:pt x="26860" y="12344"/>
                </a:lnTo>
                <a:lnTo>
                  <a:pt x="28562" y="6769"/>
                </a:lnTo>
                <a:lnTo>
                  <a:pt x="39268" y="6769"/>
                </a:lnTo>
                <a:lnTo>
                  <a:pt x="37807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31" y="47167"/>
                </a:moveTo>
                <a:lnTo>
                  <a:pt x="44069" y="47167"/>
                </a:lnTo>
                <a:lnTo>
                  <a:pt x="50850" y="68656"/>
                </a:lnTo>
                <a:lnTo>
                  <a:pt x="59893" y="68656"/>
                </a:lnTo>
                <a:lnTo>
                  <a:pt x="52731" y="47167"/>
                </a:lnTo>
                <a:close/>
              </a:path>
              <a:path w="720725" h="70484">
                <a:moveTo>
                  <a:pt x="39268" y="6769"/>
                </a:moveTo>
                <a:lnTo>
                  <a:pt x="31330" y="6769"/>
                </a:lnTo>
                <a:lnTo>
                  <a:pt x="31864" y="8762"/>
                </a:lnTo>
                <a:lnTo>
                  <a:pt x="32435" y="10617"/>
                </a:lnTo>
                <a:lnTo>
                  <a:pt x="33032" y="12344"/>
                </a:lnTo>
                <a:lnTo>
                  <a:pt x="41694" y="39611"/>
                </a:lnTo>
                <a:lnTo>
                  <a:pt x="50213" y="39611"/>
                </a:lnTo>
                <a:lnTo>
                  <a:pt x="39268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0" name="object 4"/>
          <p:cNvSpPr/>
          <p:nvPr/>
        </p:nvSpPr>
        <p:spPr>
          <a:xfrm>
            <a:off x="940517" y="7104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14" y="20802"/>
                </a:lnTo>
                <a:lnTo>
                  <a:pt x="507314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6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8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74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8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62" y="51193"/>
                </a:lnTo>
                <a:lnTo>
                  <a:pt x="537362" y="57950"/>
                </a:lnTo>
                <a:lnTo>
                  <a:pt x="536600" y="60286"/>
                </a:lnTo>
                <a:lnTo>
                  <a:pt x="533628" y="62611"/>
                </a:lnTo>
                <a:lnTo>
                  <a:pt x="530923" y="63195"/>
                </a:lnTo>
                <a:lnTo>
                  <a:pt x="545016" y="63195"/>
                </a:lnTo>
                <a:lnTo>
                  <a:pt x="545922" y="60502"/>
                </a:lnTo>
                <a:lnTo>
                  <a:pt x="545891" y="48945"/>
                </a:lnTo>
                <a:lnTo>
                  <a:pt x="544828" y="45885"/>
                </a:lnTo>
                <a:close/>
              </a:path>
              <a:path w="563880" h="89534">
                <a:moveTo>
                  <a:pt x="563333" y="20802"/>
                </a:moveTo>
                <a:lnTo>
                  <a:pt x="554774" y="20802"/>
                </a:lnTo>
                <a:lnTo>
                  <a:pt x="554774" y="69265"/>
                </a:lnTo>
                <a:lnTo>
                  <a:pt x="563333" y="69265"/>
                </a:lnTo>
                <a:lnTo>
                  <a:pt x="563333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87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1238" y="6473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55" y="69634"/>
                </a:lnTo>
                <a:lnTo>
                  <a:pt x="495566" y="67970"/>
                </a:lnTo>
                <a:lnTo>
                  <a:pt x="494906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64" y="33235"/>
                </a:lnTo>
                <a:lnTo>
                  <a:pt x="470636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6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2003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301" y="68973"/>
                </a:lnTo>
                <a:lnTo>
                  <a:pt x="410806" y="70154"/>
                </a:lnTo>
                <a:lnTo>
                  <a:pt x="419303" y="70154"/>
                </a:lnTo>
                <a:lnTo>
                  <a:pt x="423100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57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59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2003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57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90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41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20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2003" y="26771"/>
                </a:lnTo>
                <a:lnTo>
                  <a:pt x="441578" y="25501"/>
                </a:lnTo>
                <a:lnTo>
                  <a:pt x="436206" y="20777"/>
                </a:lnTo>
                <a:lnTo>
                  <a:pt x="432041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76" y="20802"/>
                </a:lnTo>
                <a:lnTo>
                  <a:pt x="329984" y="21856"/>
                </a:lnTo>
                <a:lnTo>
                  <a:pt x="329984" y="23977"/>
                </a:lnTo>
                <a:lnTo>
                  <a:pt x="327977" y="69265"/>
                </a:lnTo>
                <a:lnTo>
                  <a:pt x="335749" y="69265"/>
                </a:lnTo>
                <a:lnTo>
                  <a:pt x="337527" y="27266"/>
                </a:lnTo>
                <a:lnTo>
                  <a:pt x="346629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51" y="27266"/>
                </a:moveTo>
                <a:lnTo>
                  <a:pt x="378929" y="27266"/>
                </a:lnTo>
                <a:lnTo>
                  <a:pt x="380834" y="69265"/>
                </a:lnTo>
                <a:lnTo>
                  <a:pt x="388683" y="69265"/>
                </a:lnTo>
                <a:lnTo>
                  <a:pt x="386751" y="27266"/>
                </a:lnTo>
                <a:close/>
              </a:path>
              <a:path w="563880" h="89534">
                <a:moveTo>
                  <a:pt x="346629" y="27266"/>
                </a:moveTo>
                <a:lnTo>
                  <a:pt x="339229" y="27266"/>
                </a:lnTo>
                <a:lnTo>
                  <a:pt x="351574" y="61201"/>
                </a:lnTo>
                <a:lnTo>
                  <a:pt x="352170" y="63068"/>
                </a:lnTo>
                <a:lnTo>
                  <a:pt x="353301" y="63982"/>
                </a:lnTo>
                <a:lnTo>
                  <a:pt x="363181" y="63982"/>
                </a:lnTo>
                <a:lnTo>
                  <a:pt x="364312" y="63068"/>
                </a:lnTo>
                <a:lnTo>
                  <a:pt x="364909" y="61201"/>
                </a:lnTo>
                <a:lnTo>
                  <a:pt x="365919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55358" y="51447"/>
                </a:lnTo>
                <a:lnTo>
                  <a:pt x="346629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24" y="51447"/>
                </a:lnTo>
                <a:lnTo>
                  <a:pt x="360667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19" y="58420"/>
                </a:lnTo>
                <a:lnTo>
                  <a:pt x="377240" y="27266"/>
                </a:lnTo>
                <a:lnTo>
                  <a:pt x="386751" y="27266"/>
                </a:lnTo>
                <a:lnTo>
                  <a:pt x="386600" y="23977"/>
                </a:lnTo>
                <a:lnTo>
                  <a:pt x="386600" y="21856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34" y="65481"/>
                </a:lnTo>
                <a:lnTo>
                  <a:pt x="310500" y="65481"/>
                </a:lnTo>
                <a:lnTo>
                  <a:pt x="312323" y="63093"/>
                </a:lnTo>
                <a:lnTo>
                  <a:pt x="291376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67" y="29464"/>
                </a:lnTo>
                <a:lnTo>
                  <a:pt x="288068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500" y="65481"/>
                </a:moveTo>
                <a:lnTo>
                  <a:pt x="279234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52" y="68554"/>
                </a:lnTo>
                <a:lnTo>
                  <a:pt x="310500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97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23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71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8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71" y="19608"/>
                </a:lnTo>
                <a:close/>
              </a:path>
              <a:path w="563880" h="89534">
                <a:moveTo>
                  <a:pt x="254627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91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43" y="39408"/>
                </a:lnTo>
                <a:lnTo>
                  <a:pt x="219341" y="40449"/>
                </a:lnTo>
                <a:lnTo>
                  <a:pt x="214629" y="44627"/>
                </a:lnTo>
                <a:lnTo>
                  <a:pt x="213448" y="47574"/>
                </a:lnTo>
                <a:lnTo>
                  <a:pt x="213448" y="60934"/>
                </a:lnTo>
                <a:lnTo>
                  <a:pt x="214731" y="64274"/>
                </a:lnTo>
                <a:lnTo>
                  <a:pt x="219925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58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84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27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65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44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24" y="26771"/>
                </a:lnTo>
                <a:lnTo>
                  <a:pt x="254627" y="26771"/>
                </a:lnTo>
                <a:lnTo>
                  <a:pt x="254203" y="25501"/>
                </a:lnTo>
                <a:lnTo>
                  <a:pt x="248818" y="20777"/>
                </a:lnTo>
                <a:lnTo>
                  <a:pt x="244665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64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6" y="40805"/>
                </a:lnTo>
                <a:lnTo>
                  <a:pt x="170662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41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403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55" y="40805"/>
                </a:lnTo>
                <a:lnTo>
                  <a:pt x="192786" y="40805"/>
                </a:lnTo>
                <a:lnTo>
                  <a:pt x="193852" y="39789"/>
                </a:lnTo>
                <a:lnTo>
                  <a:pt x="195579" y="38087"/>
                </a:lnTo>
                <a:lnTo>
                  <a:pt x="196176" y="37185"/>
                </a:lnTo>
                <a:lnTo>
                  <a:pt x="196824" y="35928"/>
                </a:lnTo>
                <a:lnTo>
                  <a:pt x="198018" y="33693"/>
                </a:lnTo>
                <a:lnTo>
                  <a:pt x="198831" y="32296"/>
                </a:lnTo>
                <a:lnTo>
                  <a:pt x="199377" y="31076"/>
                </a:lnTo>
                <a:lnTo>
                  <a:pt x="201650" y="25425"/>
                </a:lnTo>
                <a:lnTo>
                  <a:pt x="202031" y="24536"/>
                </a:lnTo>
                <a:lnTo>
                  <a:pt x="203403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53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90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90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71" y="27368"/>
                </a:lnTo>
                <a:lnTo>
                  <a:pt x="149090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65" y="29921"/>
                </a:lnTo>
                <a:lnTo>
                  <a:pt x="89801" y="32080"/>
                </a:lnTo>
                <a:lnTo>
                  <a:pt x="89852" y="39408"/>
                </a:lnTo>
                <a:lnTo>
                  <a:pt x="65417" y="39408"/>
                </a:lnTo>
                <a:lnTo>
                  <a:pt x="62115" y="40449"/>
                </a:lnTo>
                <a:lnTo>
                  <a:pt x="57403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32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51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47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18" y="28067"/>
                </a:lnTo>
                <a:lnTo>
                  <a:pt x="68325" y="27203"/>
                </a:lnTo>
                <a:lnTo>
                  <a:pt x="75298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203" y="69265"/>
                </a:lnTo>
                <a:lnTo>
                  <a:pt x="6756" y="69862"/>
                </a:lnTo>
                <a:lnTo>
                  <a:pt x="13970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77" y="62560"/>
                </a:lnTo>
                <a:lnTo>
                  <a:pt x="8762" y="62496"/>
                </a:lnTo>
                <a:lnTo>
                  <a:pt x="8762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62" y="30149"/>
                </a:lnTo>
                <a:lnTo>
                  <a:pt x="8762" y="7861"/>
                </a:lnTo>
                <a:lnTo>
                  <a:pt x="41389" y="7861"/>
                </a:lnTo>
                <a:lnTo>
                  <a:pt x="42202" y="596"/>
                </a:lnTo>
                <a:lnTo>
                  <a:pt x="35229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61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61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2" name="object 5"/>
          <p:cNvSpPr/>
          <p:nvPr/>
        </p:nvSpPr>
        <p:spPr>
          <a:xfrm>
            <a:off x="939193" y="545367"/>
            <a:ext cx="1039495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52" y="103365"/>
                </a:lnTo>
                <a:lnTo>
                  <a:pt x="984504" y="105181"/>
                </a:lnTo>
                <a:lnTo>
                  <a:pt x="992517" y="105181"/>
                </a:lnTo>
                <a:lnTo>
                  <a:pt x="990206" y="110883"/>
                </a:lnTo>
                <a:lnTo>
                  <a:pt x="987107" y="114896"/>
                </a:lnTo>
                <a:lnTo>
                  <a:pt x="983195" y="117195"/>
                </a:lnTo>
                <a:lnTo>
                  <a:pt x="979398" y="119494"/>
                </a:lnTo>
                <a:lnTo>
                  <a:pt x="972934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40" y="127550"/>
                </a:lnTo>
                <a:lnTo>
                  <a:pt x="1004644" y="121813"/>
                </a:lnTo>
                <a:lnTo>
                  <a:pt x="1005484" y="120497"/>
                </a:lnTo>
                <a:lnTo>
                  <a:pt x="972934" y="120497"/>
                </a:lnTo>
                <a:lnTo>
                  <a:pt x="963815" y="120205"/>
                </a:lnTo>
                <a:lnTo>
                  <a:pt x="1005670" y="120205"/>
                </a:lnTo>
                <a:lnTo>
                  <a:pt x="1009179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21" y="90144"/>
                </a:lnTo>
                <a:lnTo>
                  <a:pt x="996327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34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60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712" y="133718"/>
                </a:lnTo>
                <a:lnTo>
                  <a:pt x="897712" y="115836"/>
                </a:lnTo>
                <a:lnTo>
                  <a:pt x="897691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712" y="87591"/>
                </a:lnTo>
                <a:lnTo>
                  <a:pt x="897712" y="53644"/>
                </a:lnTo>
                <a:lnTo>
                  <a:pt x="904913" y="48933"/>
                </a:lnTo>
                <a:lnTo>
                  <a:pt x="911034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60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4" y="103068"/>
                </a:lnTo>
                <a:lnTo>
                  <a:pt x="908335" y="105322"/>
                </a:lnTo>
                <a:lnTo>
                  <a:pt x="914864" y="106674"/>
                </a:lnTo>
                <a:lnTo>
                  <a:pt x="922045" y="107124"/>
                </a:lnTo>
                <a:lnTo>
                  <a:pt x="931773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612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93" y="105181"/>
                </a:lnTo>
                <a:lnTo>
                  <a:pt x="766213" y="105572"/>
                </a:lnTo>
                <a:lnTo>
                  <a:pt x="774511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64" y="106070"/>
                </a:lnTo>
                <a:lnTo>
                  <a:pt x="813473" y="104305"/>
                </a:lnTo>
                <a:lnTo>
                  <a:pt x="822693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8" y="70777"/>
                </a:lnTo>
                <a:lnTo>
                  <a:pt x="822591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8" y="70777"/>
                </a:moveTo>
                <a:lnTo>
                  <a:pt x="795642" y="70777"/>
                </a:lnTo>
                <a:lnTo>
                  <a:pt x="798728" y="71424"/>
                </a:lnTo>
                <a:lnTo>
                  <a:pt x="801827" y="74028"/>
                </a:lnTo>
                <a:lnTo>
                  <a:pt x="802614" y="76631"/>
                </a:lnTo>
                <a:lnTo>
                  <a:pt x="802614" y="84645"/>
                </a:lnTo>
                <a:lnTo>
                  <a:pt x="801827" y="87325"/>
                </a:lnTo>
                <a:lnTo>
                  <a:pt x="798728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8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50" y="126352"/>
                </a:lnTo>
                <a:lnTo>
                  <a:pt x="673849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80" y="70734"/>
                </a:lnTo>
                <a:lnTo>
                  <a:pt x="670138" y="80381"/>
                </a:lnTo>
                <a:lnTo>
                  <a:pt x="667092" y="89255"/>
                </a:lnTo>
                <a:lnTo>
                  <a:pt x="686625" y="89255"/>
                </a:lnTo>
                <a:lnTo>
                  <a:pt x="696290" y="48488"/>
                </a:lnTo>
                <a:lnTo>
                  <a:pt x="698792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41" y="31102"/>
                </a:lnTo>
                <a:lnTo>
                  <a:pt x="573341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34" y="106984"/>
                </a:lnTo>
                <a:lnTo>
                  <a:pt x="515690" y="106166"/>
                </a:lnTo>
                <a:lnTo>
                  <a:pt x="522892" y="103711"/>
                </a:lnTo>
                <a:lnTo>
                  <a:pt x="529439" y="99623"/>
                </a:lnTo>
                <a:lnTo>
                  <a:pt x="535330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30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15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68" y="28994"/>
                </a:lnTo>
                <a:lnTo>
                  <a:pt x="516527" y="29220"/>
                </a:lnTo>
                <a:lnTo>
                  <a:pt x="506999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56" y="47637"/>
                </a:lnTo>
                <a:lnTo>
                  <a:pt x="498570" y="47104"/>
                </a:lnTo>
                <a:lnTo>
                  <a:pt x="506815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80" y="39141"/>
                </a:lnTo>
                <a:lnTo>
                  <a:pt x="543267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6" y="82222"/>
                </a:lnTo>
                <a:lnTo>
                  <a:pt x="428955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63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52" y="133718"/>
                </a:lnTo>
                <a:lnTo>
                  <a:pt x="331152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30" y="99910"/>
                </a:lnTo>
                <a:lnTo>
                  <a:pt x="376961" y="98640"/>
                </a:lnTo>
                <a:lnTo>
                  <a:pt x="379987" y="93590"/>
                </a:lnTo>
                <a:lnTo>
                  <a:pt x="380959" y="90601"/>
                </a:lnTo>
                <a:lnTo>
                  <a:pt x="344563" y="90601"/>
                </a:lnTo>
                <a:lnTo>
                  <a:pt x="338963" y="89598"/>
                </a:lnTo>
                <a:lnTo>
                  <a:pt x="331152" y="87591"/>
                </a:lnTo>
                <a:lnTo>
                  <a:pt x="331152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75" y="46583"/>
                </a:lnTo>
                <a:lnTo>
                  <a:pt x="378562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30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64" y="104305"/>
                </a:lnTo>
                <a:lnTo>
                  <a:pt x="375930" y="99910"/>
                </a:lnTo>
                <a:close/>
              </a:path>
              <a:path w="1039494" h="136525">
                <a:moveTo>
                  <a:pt x="380375" y="46583"/>
                </a:moveTo>
                <a:lnTo>
                  <a:pt x="353783" y="46583"/>
                </a:lnTo>
                <a:lnTo>
                  <a:pt x="356781" y="48107"/>
                </a:lnTo>
                <a:lnTo>
                  <a:pt x="360197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21" y="83591"/>
                </a:lnTo>
                <a:lnTo>
                  <a:pt x="356412" y="89204"/>
                </a:lnTo>
                <a:lnTo>
                  <a:pt x="352971" y="90601"/>
                </a:lnTo>
                <a:lnTo>
                  <a:pt x="380959" y="90601"/>
                </a:lnTo>
                <a:lnTo>
                  <a:pt x="382150" y="86936"/>
                </a:lnTo>
                <a:lnTo>
                  <a:pt x="383449" y="78679"/>
                </a:lnTo>
                <a:lnTo>
                  <a:pt x="383882" y="68821"/>
                </a:lnTo>
                <a:lnTo>
                  <a:pt x="382275" y="51469"/>
                </a:lnTo>
                <a:lnTo>
                  <a:pt x="380375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52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62" y="41922"/>
                </a:lnTo>
                <a:lnTo>
                  <a:pt x="377455" y="39074"/>
                </a:lnTo>
                <a:lnTo>
                  <a:pt x="369422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26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26" y="133718"/>
                </a:lnTo>
                <a:lnTo>
                  <a:pt x="253326" y="106680"/>
                </a:lnTo>
                <a:lnTo>
                  <a:pt x="263363" y="105467"/>
                </a:lnTo>
                <a:lnTo>
                  <a:pt x="288522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14" y="45377"/>
                </a:lnTo>
                <a:lnTo>
                  <a:pt x="288236" y="44980"/>
                </a:lnTo>
                <a:lnTo>
                  <a:pt x="253326" y="29298"/>
                </a:lnTo>
                <a:lnTo>
                  <a:pt x="253326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14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27" y="54686"/>
                </a:lnTo>
                <a:lnTo>
                  <a:pt x="272249" y="60299"/>
                </a:lnTo>
                <a:lnTo>
                  <a:pt x="272249" y="76034"/>
                </a:lnTo>
                <a:lnTo>
                  <a:pt x="270827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22" y="90601"/>
                </a:lnTo>
                <a:lnTo>
                  <a:pt x="291125" y="84855"/>
                </a:lnTo>
                <a:lnTo>
                  <a:pt x="292856" y="77182"/>
                </a:lnTo>
                <a:lnTo>
                  <a:pt x="293433" y="68211"/>
                </a:lnTo>
                <a:lnTo>
                  <a:pt x="292856" y="59172"/>
                </a:lnTo>
                <a:lnTo>
                  <a:pt x="291125" y="51428"/>
                </a:lnTo>
                <a:lnTo>
                  <a:pt x="288414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38" y="31102"/>
                </a:lnTo>
                <a:lnTo>
                  <a:pt x="105638" y="105181"/>
                </a:lnTo>
                <a:lnTo>
                  <a:pt x="124561" y="105181"/>
                </a:lnTo>
                <a:lnTo>
                  <a:pt x="141243" y="81584"/>
                </a:lnTo>
                <a:lnTo>
                  <a:pt x="124561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43" y="81584"/>
                </a:lnTo>
                <a:lnTo>
                  <a:pt x="155105" y="61950"/>
                </a:lnTo>
                <a:lnTo>
                  <a:pt x="156972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403" y="1498"/>
                </a:lnTo>
                <a:lnTo>
                  <a:pt x="57403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8400" y="1945926"/>
            <a:ext cx="5943600" cy="149865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24600" y="3734808"/>
            <a:ext cx="4206164" cy="913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67" i="1" dirty="0">
                <a:latin typeface="Century Gothic" panose="020B0502020202020204" pitchFamily="34" charset="0"/>
              </a:rPr>
              <a:t>*</a:t>
            </a:r>
            <a:r>
              <a:rPr lang="en-US" sz="1067" i="1" dirty="0">
                <a:latin typeface="Century Gothic" panose="020B0502020202020204" pitchFamily="34" charset="0"/>
              </a:rPr>
              <a:t>IEEE-</a:t>
            </a:r>
            <a:r>
              <a:rPr lang="ru-RU" sz="1067" i="1" dirty="0">
                <a:latin typeface="Century Gothic" panose="020B0502020202020204" pitchFamily="34" charset="0"/>
              </a:rPr>
              <a:t>техника </a:t>
            </a:r>
            <a:r>
              <a:rPr lang="ru-RU" sz="1067" i="1" dirty="0" err="1">
                <a:latin typeface="Century Gothic" panose="020B0502020202020204" pitchFamily="34" charset="0"/>
              </a:rPr>
              <a:t>саласындағы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халықаралық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коммерциялық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емес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мамандар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қауымдастығы</a:t>
            </a:r>
            <a:r>
              <a:rPr lang="ru-RU" sz="1067" i="1" dirty="0">
                <a:latin typeface="Century Gothic" panose="020B0502020202020204" pitchFamily="34" charset="0"/>
              </a:rPr>
              <a:t>, радиоэлектроника, электротехника </a:t>
            </a:r>
            <a:r>
              <a:rPr lang="ru-RU" sz="1067" i="1" dirty="0" err="1">
                <a:latin typeface="Century Gothic" panose="020B0502020202020204" pitchFamily="34" charset="0"/>
              </a:rPr>
              <a:t>және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есептеу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жүйелері</a:t>
            </a:r>
            <a:r>
              <a:rPr lang="ru-RU" sz="1067" i="1" dirty="0">
                <a:latin typeface="Century Gothic" panose="020B0502020202020204" pitchFamily="34" charset="0"/>
              </a:rPr>
              <a:t> мен </a:t>
            </a:r>
            <a:r>
              <a:rPr lang="ru-RU" sz="1067" i="1" dirty="0" err="1">
                <a:latin typeface="Century Gothic" panose="020B0502020202020204" pitchFamily="34" charset="0"/>
              </a:rPr>
              <a:t>желілерінің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аппараттық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стандарттары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саласындағы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әлемдік</a:t>
            </a:r>
            <a:r>
              <a:rPr lang="ru-RU" sz="1067" i="1" dirty="0">
                <a:latin typeface="Century Gothic" panose="020B0502020202020204" pitchFamily="34" charset="0"/>
              </a:rPr>
              <a:t> </a:t>
            </a:r>
            <a:r>
              <a:rPr lang="ru-RU" sz="1067" i="1" dirty="0" err="1">
                <a:latin typeface="Century Gothic" panose="020B0502020202020204" pitchFamily="34" charset="0"/>
              </a:rPr>
              <a:t>көшбасшы</a:t>
            </a:r>
            <a:endParaRPr lang="en-US" sz="1067" i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6827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1" name="Группа 30"/>
          <p:cNvGrpSpPr/>
          <p:nvPr/>
        </p:nvGrpSpPr>
        <p:grpSpPr>
          <a:xfrm>
            <a:off x="179833" y="178307"/>
            <a:ext cx="11832336" cy="6501384"/>
            <a:chOff x="275623" y="485074"/>
            <a:chExt cx="11832336" cy="6501384"/>
          </a:xfrm>
        </p:grpSpPr>
        <p:sp>
          <p:nvSpPr>
            <p:cNvPr id="2" name="object 2"/>
            <p:cNvSpPr/>
            <p:nvPr/>
          </p:nvSpPr>
          <p:spPr>
            <a:xfrm>
              <a:off x="275789" y="486770"/>
              <a:ext cx="11832005" cy="649799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75623" y="485074"/>
              <a:ext cx="11832336" cy="6501384"/>
            </a:xfrm>
            <a:prstGeom prst="rect">
              <a:avLst/>
            </a:prstGeom>
            <a:solidFill>
              <a:srgbClr val="1F385D">
                <a:alpha val="9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228600" y="4495800"/>
            <a:ext cx="11658600" cy="4242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r">
              <a:lnSpc>
                <a:spcPct val="150000"/>
              </a:lnSpc>
              <a:spcBef>
                <a:spcPts val="100"/>
              </a:spcBef>
              <a:tabLst>
                <a:tab pos="1936114" algn="l"/>
                <a:tab pos="2169795" algn="l"/>
                <a:tab pos="3376929" algn="l"/>
                <a:tab pos="4213225" algn="l"/>
                <a:tab pos="6055995" algn="l"/>
              </a:tabLst>
            </a:pP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Әкімшілік-шаруашылық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бөлімінің</a:t>
            </a:r>
            <a:r>
              <a:rPr lang="ru-RU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spc="100" dirty="0" err="1">
                <a:solidFill>
                  <a:srgbClr val="FFFFFF"/>
                </a:solidFill>
                <a:latin typeface="Century Gothic" pitchFamily="34" charset="0"/>
              </a:rPr>
              <a:t>есебі</a:t>
            </a:r>
            <a:endParaRPr lang="ru-RU" spc="100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grpSp>
        <p:nvGrpSpPr>
          <p:cNvPr id="28" name="Группа 27"/>
          <p:cNvGrpSpPr/>
          <p:nvPr/>
        </p:nvGrpSpPr>
        <p:grpSpPr>
          <a:xfrm>
            <a:off x="773316" y="762000"/>
            <a:ext cx="3341484" cy="702091"/>
            <a:chOff x="773316" y="773317"/>
            <a:chExt cx="3572756" cy="75068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73316" y="773317"/>
              <a:ext cx="3572756" cy="750684"/>
              <a:chOff x="1973415" y="39706"/>
              <a:chExt cx="8351686" cy="1754802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38738" y="110040"/>
                <a:ext cx="5186363" cy="1604999"/>
              </a:xfrm>
              <a:prstGeom prst="rect">
                <a:avLst/>
              </a:prstGeom>
            </p:spPr>
          </p:pic>
          <p:pic>
            <p:nvPicPr>
              <p:cNvPr id="22" name="Рисунок 2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3415" y="39706"/>
                <a:ext cx="1754801" cy="1754802"/>
              </a:xfrm>
              <a:prstGeom prst="rect">
                <a:avLst/>
              </a:prstGeom>
            </p:spPr>
          </p:pic>
        </p:grp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828800" y="856034"/>
              <a:ext cx="0" cy="658239"/>
            </a:xfrm>
            <a:prstGeom prst="line">
              <a:avLst/>
            </a:prstGeom>
            <a:ln>
              <a:solidFill>
                <a:schemeClr val="bg1">
                  <a:lumMod val="75000"/>
                  <a:alpha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11"/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13" name="Группа 90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18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9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14" name="Группа 93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16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7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  <p:grpSp>
        <p:nvGrpSpPr>
          <p:cNvPr id="20" name="Группа 19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25" name="Группа 11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32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33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  <p:grpSp>
          <p:nvGrpSpPr>
            <p:cNvPr id="26" name="Группа 120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27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29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185028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Shape 2924"/>
          <p:cNvSpPr>
            <a:spLocks noGrp="1"/>
          </p:cNvSpPr>
          <p:nvPr>
            <p:ph type="title"/>
          </p:nvPr>
        </p:nvSpPr>
        <p:spPr>
          <a:xfrm>
            <a:off x="152400" y="1066800"/>
            <a:ext cx="11765844" cy="880954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1. </a:t>
            </a:r>
            <a:r>
              <a:rPr lang="kk-KZ" dirty="0">
                <a:latin typeface="Century Gothic" panose="020B0502020202020204" pitchFamily="34" charset="0"/>
              </a:rPr>
              <a:t>ҚАРЖЫ</a:t>
            </a:r>
            <a:br>
              <a:rPr lang="ru-RU" dirty="0">
                <a:latin typeface="Century Gothic" panose="020B0502020202020204" pitchFamily="34" charset="0"/>
              </a:rPr>
            </a:br>
            <a:br>
              <a:rPr lang="en-US" dirty="0">
                <a:solidFill>
                  <a:srgbClr val="FFFFFF"/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</a:br>
            <a:br>
              <a:rPr lang="en-US" dirty="0">
                <a:solidFill>
                  <a:srgbClr val="2C4467"/>
                </a:solidFill>
                <a:latin typeface="Century Gothic" panose="020B0502020202020204" pitchFamily="34" charset="0"/>
              </a:rPr>
            </a:br>
            <a:endParaRPr dirty="0">
              <a:solidFill>
                <a:srgbClr val="2C4467"/>
              </a:solidFill>
              <a:latin typeface="Century Gothic" panose="020B0502020202020204" pitchFamily="34" charset="0"/>
            </a:endParaRPr>
          </a:p>
        </p:txBody>
      </p:sp>
      <p:sp>
        <p:nvSpPr>
          <p:cNvPr id="2925" name="Shape 2925"/>
          <p:cNvSpPr/>
          <p:nvPr/>
        </p:nvSpPr>
        <p:spPr>
          <a:xfrm>
            <a:off x="228600" y="1600200"/>
            <a:ext cx="11765845" cy="1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2939" name="Shape 2939"/>
          <p:cNvSpPr/>
          <p:nvPr/>
        </p:nvSpPr>
        <p:spPr>
          <a:xfrm>
            <a:off x="213078" y="990600"/>
            <a:ext cx="11765845" cy="0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3" name="object 2">
            <a:extLst>
              <a:ext uri="{FF2B5EF4-FFF2-40B4-BE49-F238E27FC236}">
                <a16:creationId xmlns:a16="http://schemas.microsoft.com/office/drawing/2014/main" id="{2BCEBE8D-BF27-47E0-AAA5-8088B7D540DB}"/>
              </a:ext>
            </a:extLst>
          </p:cNvPr>
          <p:cNvSpPr/>
          <p:nvPr/>
        </p:nvSpPr>
        <p:spPr>
          <a:xfrm>
            <a:off x="394672" y="222398"/>
            <a:ext cx="409359" cy="5004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A7E6564F-361E-4233-890C-B119C53CD236}"/>
              </a:ext>
            </a:extLst>
          </p:cNvPr>
          <p:cNvSpPr/>
          <p:nvPr/>
        </p:nvSpPr>
        <p:spPr>
          <a:xfrm>
            <a:off x="971772" y="348118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84" y="20205"/>
                </a:moveTo>
                <a:lnTo>
                  <a:pt x="664629" y="20205"/>
                </a:lnTo>
                <a:lnTo>
                  <a:pt x="664629" y="68656"/>
                </a:lnTo>
                <a:lnTo>
                  <a:pt x="664921" y="68656"/>
                </a:lnTo>
                <a:lnTo>
                  <a:pt x="670026" y="69062"/>
                </a:lnTo>
                <a:lnTo>
                  <a:pt x="676922" y="69265"/>
                </a:lnTo>
                <a:lnTo>
                  <a:pt x="692061" y="69265"/>
                </a:lnTo>
                <a:lnTo>
                  <a:pt x="696595" y="68186"/>
                </a:lnTo>
                <a:lnTo>
                  <a:pt x="701903" y="63868"/>
                </a:lnTo>
                <a:lnTo>
                  <a:pt x="702331" y="62598"/>
                </a:lnTo>
                <a:lnTo>
                  <a:pt x="684326" y="62598"/>
                </a:lnTo>
                <a:lnTo>
                  <a:pt x="672884" y="62496"/>
                </a:lnTo>
                <a:lnTo>
                  <a:pt x="672884" y="45275"/>
                </a:lnTo>
                <a:lnTo>
                  <a:pt x="702149" y="45275"/>
                </a:lnTo>
                <a:lnTo>
                  <a:pt x="701878" y="44488"/>
                </a:lnTo>
                <a:lnTo>
                  <a:pt x="696429" y="40106"/>
                </a:lnTo>
                <a:lnTo>
                  <a:pt x="691502" y="39001"/>
                </a:lnTo>
                <a:lnTo>
                  <a:pt x="672884" y="39001"/>
                </a:lnTo>
                <a:lnTo>
                  <a:pt x="672884" y="20205"/>
                </a:lnTo>
                <a:close/>
              </a:path>
              <a:path w="720725" h="70484">
                <a:moveTo>
                  <a:pt x="702149" y="45275"/>
                </a:moveTo>
                <a:lnTo>
                  <a:pt x="688314" y="45275"/>
                </a:lnTo>
                <a:lnTo>
                  <a:pt x="691032" y="45885"/>
                </a:lnTo>
                <a:lnTo>
                  <a:pt x="693940" y="48348"/>
                </a:lnTo>
                <a:lnTo>
                  <a:pt x="694677" y="50584"/>
                </a:lnTo>
                <a:lnTo>
                  <a:pt x="694677" y="57353"/>
                </a:lnTo>
                <a:lnTo>
                  <a:pt x="693928" y="59689"/>
                </a:lnTo>
                <a:lnTo>
                  <a:pt x="690943" y="62014"/>
                </a:lnTo>
                <a:lnTo>
                  <a:pt x="688238" y="62598"/>
                </a:lnTo>
                <a:lnTo>
                  <a:pt x="702331" y="62598"/>
                </a:lnTo>
                <a:lnTo>
                  <a:pt x="703237" y="59905"/>
                </a:lnTo>
                <a:lnTo>
                  <a:pt x="703210" y="48348"/>
                </a:lnTo>
                <a:lnTo>
                  <a:pt x="702149" y="45275"/>
                </a:lnTo>
                <a:close/>
              </a:path>
              <a:path w="720725" h="70484">
                <a:moveTo>
                  <a:pt x="720648" y="20205"/>
                </a:moveTo>
                <a:lnTo>
                  <a:pt x="712089" y="20205"/>
                </a:lnTo>
                <a:lnTo>
                  <a:pt x="712089" y="68656"/>
                </a:lnTo>
                <a:lnTo>
                  <a:pt x="720648" y="68656"/>
                </a:lnTo>
                <a:lnTo>
                  <a:pt x="720648" y="20205"/>
                </a:lnTo>
                <a:close/>
              </a:path>
              <a:path w="720725" h="70484">
                <a:moveTo>
                  <a:pt x="642734" y="19011"/>
                </a:moveTo>
                <a:lnTo>
                  <a:pt x="628015" y="19011"/>
                </a:lnTo>
                <a:lnTo>
                  <a:pt x="622084" y="20916"/>
                </a:lnTo>
                <a:lnTo>
                  <a:pt x="615111" y="28549"/>
                </a:lnTo>
                <a:lnTo>
                  <a:pt x="613371" y="35090"/>
                </a:lnTo>
                <a:lnTo>
                  <a:pt x="613371" y="53733"/>
                </a:lnTo>
                <a:lnTo>
                  <a:pt x="615099" y="60324"/>
                </a:lnTo>
                <a:lnTo>
                  <a:pt x="621995" y="67944"/>
                </a:lnTo>
                <a:lnTo>
                  <a:pt x="627938" y="69862"/>
                </a:lnTo>
                <a:lnTo>
                  <a:pt x="642670" y="69862"/>
                </a:lnTo>
                <a:lnTo>
                  <a:pt x="648182" y="69024"/>
                </a:lnTo>
                <a:lnTo>
                  <a:pt x="652881" y="67373"/>
                </a:lnTo>
                <a:lnTo>
                  <a:pt x="652222" y="62699"/>
                </a:lnTo>
                <a:lnTo>
                  <a:pt x="631913" y="62699"/>
                </a:lnTo>
                <a:lnTo>
                  <a:pt x="627875" y="61404"/>
                </a:lnTo>
                <a:lnTo>
                  <a:pt x="623366" y="56222"/>
                </a:lnTo>
                <a:lnTo>
                  <a:pt x="622236" y="51409"/>
                </a:lnTo>
                <a:lnTo>
                  <a:pt x="622236" y="37414"/>
                </a:lnTo>
                <a:lnTo>
                  <a:pt x="623379" y="32638"/>
                </a:lnTo>
                <a:lnTo>
                  <a:pt x="627964" y="27470"/>
                </a:lnTo>
                <a:lnTo>
                  <a:pt x="631977" y="26174"/>
                </a:lnTo>
                <a:lnTo>
                  <a:pt x="651018" y="26174"/>
                </a:lnTo>
                <a:lnTo>
                  <a:pt x="651979" y="21297"/>
                </a:lnTo>
                <a:lnTo>
                  <a:pt x="647941" y="19773"/>
                </a:lnTo>
                <a:lnTo>
                  <a:pt x="642734" y="19011"/>
                </a:lnTo>
                <a:close/>
              </a:path>
              <a:path w="720725" h="70484">
                <a:moveTo>
                  <a:pt x="652081" y="61696"/>
                </a:moveTo>
                <a:lnTo>
                  <a:pt x="647903" y="62356"/>
                </a:lnTo>
                <a:lnTo>
                  <a:pt x="643128" y="62699"/>
                </a:lnTo>
                <a:lnTo>
                  <a:pt x="652222" y="62699"/>
                </a:lnTo>
                <a:lnTo>
                  <a:pt x="652081" y="61696"/>
                </a:lnTo>
                <a:close/>
              </a:path>
              <a:path w="720725" h="70484">
                <a:moveTo>
                  <a:pt x="651018" y="26174"/>
                </a:moveTo>
                <a:lnTo>
                  <a:pt x="642137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8" y="26174"/>
                </a:lnTo>
                <a:close/>
              </a:path>
              <a:path w="720725" h="70484">
                <a:moveTo>
                  <a:pt x="599334" y="26174"/>
                </a:moveTo>
                <a:lnTo>
                  <a:pt x="585647" y="26174"/>
                </a:lnTo>
                <a:lnTo>
                  <a:pt x="588200" y="26796"/>
                </a:lnTo>
                <a:lnTo>
                  <a:pt x="589584" y="28066"/>
                </a:lnTo>
                <a:lnTo>
                  <a:pt x="590994" y="29324"/>
                </a:lnTo>
                <a:lnTo>
                  <a:pt x="591718" y="31483"/>
                </a:lnTo>
                <a:lnTo>
                  <a:pt x="591781" y="38811"/>
                </a:lnTo>
                <a:lnTo>
                  <a:pt x="567334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35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390" y="68681"/>
                </a:lnTo>
                <a:lnTo>
                  <a:pt x="587362" y="65163"/>
                </a:lnTo>
                <a:lnTo>
                  <a:pt x="590257" y="63093"/>
                </a:lnTo>
                <a:lnTo>
                  <a:pt x="590974" y="62356"/>
                </a:lnTo>
                <a:lnTo>
                  <a:pt x="576846" y="62356"/>
                </a:lnTo>
                <a:lnTo>
                  <a:pt x="574268" y="62293"/>
                </a:lnTo>
                <a:lnTo>
                  <a:pt x="571677" y="62293"/>
                </a:lnTo>
                <a:lnTo>
                  <a:pt x="569772" y="61709"/>
                </a:lnTo>
                <a:lnTo>
                  <a:pt x="567309" y="59385"/>
                </a:lnTo>
                <a:lnTo>
                  <a:pt x="566712" y="57543"/>
                </a:lnTo>
                <a:lnTo>
                  <a:pt x="566712" y="47701"/>
                </a:lnTo>
                <a:lnTo>
                  <a:pt x="568833" y="45478"/>
                </a:lnTo>
                <a:lnTo>
                  <a:pt x="573087" y="45275"/>
                </a:lnTo>
                <a:lnTo>
                  <a:pt x="600240" y="45275"/>
                </a:lnTo>
                <a:lnTo>
                  <a:pt x="600240" y="28892"/>
                </a:lnTo>
                <a:lnTo>
                  <a:pt x="599334" y="26174"/>
                </a:lnTo>
                <a:close/>
              </a:path>
              <a:path w="720725" h="70484">
                <a:moveTo>
                  <a:pt x="600240" y="60705"/>
                </a:moveTo>
                <a:lnTo>
                  <a:pt x="592582" y="60705"/>
                </a:lnTo>
                <a:lnTo>
                  <a:pt x="593572" y="68656"/>
                </a:lnTo>
                <a:lnTo>
                  <a:pt x="600240" y="68656"/>
                </a:lnTo>
                <a:lnTo>
                  <a:pt x="600240" y="60705"/>
                </a:lnTo>
                <a:close/>
              </a:path>
              <a:path w="720725" h="70484">
                <a:moveTo>
                  <a:pt x="600240" y="45275"/>
                </a:moveTo>
                <a:lnTo>
                  <a:pt x="591781" y="45275"/>
                </a:lnTo>
                <a:lnTo>
                  <a:pt x="591781" y="55029"/>
                </a:lnTo>
                <a:lnTo>
                  <a:pt x="589064" y="57416"/>
                </a:lnTo>
                <a:lnTo>
                  <a:pt x="586117" y="59245"/>
                </a:lnTo>
                <a:lnTo>
                  <a:pt x="579742" y="61760"/>
                </a:lnTo>
                <a:lnTo>
                  <a:pt x="576846" y="62356"/>
                </a:lnTo>
                <a:lnTo>
                  <a:pt x="590974" y="62356"/>
                </a:lnTo>
                <a:lnTo>
                  <a:pt x="592582" y="60705"/>
                </a:lnTo>
                <a:lnTo>
                  <a:pt x="600240" y="60705"/>
                </a:lnTo>
                <a:lnTo>
                  <a:pt x="600240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088" y="19011"/>
                </a:lnTo>
                <a:lnTo>
                  <a:pt x="569264" y="19735"/>
                </a:lnTo>
                <a:lnTo>
                  <a:pt x="560235" y="21196"/>
                </a:lnTo>
                <a:lnTo>
                  <a:pt x="561035" y="27470"/>
                </a:lnTo>
                <a:lnTo>
                  <a:pt x="570255" y="26606"/>
                </a:lnTo>
                <a:lnTo>
                  <a:pt x="577227" y="26174"/>
                </a:lnTo>
                <a:lnTo>
                  <a:pt x="599334" y="26174"/>
                </a:lnTo>
                <a:lnTo>
                  <a:pt x="598906" y="24891"/>
                </a:lnTo>
                <a:lnTo>
                  <a:pt x="593521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31" y="20205"/>
                </a:lnTo>
                <a:lnTo>
                  <a:pt x="517347" y="21132"/>
                </a:lnTo>
                <a:lnTo>
                  <a:pt x="513359" y="24841"/>
                </a:lnTo>
                <a:lnTo>
                  <a:pt x="512140" y="27698"/>
                </a:lnTo>
                <a:lnTo>
                  <a:pt x="511683" y="31546"/>
                </a:lnTo>
                <a:lnTo>
                  <a:pt x="510413" y="43751"/>
                </a:lnTo>
                <a:lnTo>
                  <a:pt x="508990" y="51879"/>
                </a:lnTo>
                <a:lnTo>
                  <a:pt x="498843" y="62699"/>
                </a:lnTo>
                <a:lnTo>
                  <a:pt x="499732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85" y="29108"/>
                </a:lnTo>
                <a:lnTo>
                  <a:pt x="522363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1" y="26174"/>
                </a:moveTo>
                <a:lnTo>
                  <a:pt x="474789" y="26174"/>
                </a:lnTo>
                <a:lnTo>
                  <a:pt x="477354" y="26796"/>
                </a:lnTo>
                <a:lnTo>
                  <a:pt x="480136" y="29324"/>
                </a:lnTo>
                <a:lnTo>
                  <a:pt x="480860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86" y="39852"/>
                </a:lnTo>
                <a:lnTo>
                  <a:pt x="448475" y="44030"/>
                </a:lnTo>
                <a:lnTo>
                  <a:pt x="447294" y="46964"/>
                </a:lnTo>
                <a:lnTo>
                  <a:pt x="447294" y="60337"/>
                </a:lnTo>
                <a:lnTo>
                  <a:pt x="448589" y="63665"/>
                </a:lnTo>
                <a:lnTo>
                  <a:pt x="453758" y="68376"/>
                </a:lnTo>
                <a:lnTo>
                  <a:pt x="457276" y="69557"/>
                </a:lnTo>
                <a:lnTo>
                  <a:pt x="465759" y="69557"/>
                </a:lnTo>
                <a:lnTo>
                  <a:pt x="469531" y="68681"/>
                </a:lnTo>
                <a:lnTo>
                  <a:pt x="476504" y="65163"/>
                </a:lnTo>
                <a:lnTo>
                  <a:pt x="479412" y="63093"/>
                </a:lnTo>
                <a:lnTo>
                  <a:pt x="480125" y="62356"/>
                </a:lnTo>
                <a:lnTo>
                  <a:pt x="466001" y="62356"/>
                </a:lnTo>
                <a:lnTo>
                  <a:pt x="463423" y="62293"/>
                </a:lnTo>
                <a:lnTo>
                  <a:pt x="460832" y="62293"/>
                </a:lnTo>
                <a:lnTo>
                  <a:pt x="458914" y="61709"/>
                </a:lnTo>
                <a:lnTo>
                  <a:pt x="456463" y="59385"/>
                </a:lnTo>
                <a:lnTo>
                  <a:pt x="455853" y="57543"/>
                </a:lnTo>
                <a:lnTo>
                  <a:pt x="455853" y="47701"/>
                </a:lnTo>
                <a:lnTo>
                  <a:pt x="457974" y="45478"/>
                </a:lnTo>
                <a:lnTo>
                  <a:pt x="462216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1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23" y="60705"/>
                </a:lnTo>
                <a:lnTo>
                  <a:pt x="482714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05" y="57416"/>
                </a:lnTo>
                <a:lnTo>
                  <a:pt x="475246" y="59245"/>
                </a:lnTo>
                <a:lnTo>
                  <a:pt x="468896" y="61760"/>
                </a:lnTo>
                <a:lnTo>
                  <a:pt x="466001" y="62356"/>
                </a:lnTo>
                <a:lnTo>
                  <a:pt x="480125" y="62356"/>
                </a:lnTo>
                <a:lnTo>
                  <a:pt x="481723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497" y="19011"/>
                </a:moveTo>
                <a:lnTo>
                  <a:pt x="466242" y="19011"/>
                </a:lnTo>
                <a:lnTo>
                  <a:pt x="458406" y="19735"/>
                </a:lnTo>
                <a:lnTo>
                  <a:pt x="449376" y="21196"/>
                </a:lnTo>
                <a:lnTo>
                  <a:pt x="450176" y="27470"/>
                </a:lnTo>
                <a:lnTo>
                  <a:pt x="459397" y="26606"/>
                </a:lnTo>
                <a:lnTo>
                  <a:pt x="466369" y="26174"/>
                </a:lnTo>
                <a:lnTo>
                  <a:pt x="488471" y="26174"/>
                </a:lnTo>
                <a:lnTo>
                  <a:pt x="488035" y="24891"/>
                </a:lnTo>
                <a:lnTo>
                  <a:pt x="482663" y="20180"/>
                </a:lnTo>
                <a:lnTo>
                  <a:pt x="478497" y="19011"/>
                </a:lnTo>
                <a:close/>
              </a:path>
              <a:path w="720725" h="70484">
                <a:moveTo>
                  <a:pt x="405003" y="20205"/>
                </a:moveTo>
                <a:lnTo>
                  <a:pt x="396544" y="20205"/>
                </a:lnTo>
                <a:lnTo>
                  <a:pt x="396544" y="68656"/>
                </a:lnTo>
                <a:lnTo>
                  <a:pt x="405003" y="68656"/>
                </a:lnTo>
                <a:lnTo>
                  <a:pt x="404878" y="49060"/>
                </a:lnTo>
                <a:lnTo>
                  <a:pt x="404609" y="46774"/>
                </a:lnTo>
                <a:lnTo>
                  <a:pt x="427291" y="46774"/>
                </a:lnTo>
                <a:lnTo>
                  <a:pt x="418731" y="43586"/>
                </a:lnTo>
                <a:lnTo>
                  <a:pt x="418731" y="43281"/>
                </a:lnTo>
                <a:lnTo>
                  <a:pt x="426626" y="40208"/>
                </a:lnTo>
                <a:lnTo>
                  <a:pt x="404507" y="40208"/>
                </a:lnTo>
                <a:lnTo>
                  <a:pt x="404783" y="38544"/>
                </a:lnTo>
                <a:lnTo>
                  <a:pt x="404903" y="37477"/>
                </a:lnTo>
                <a:lnTo>
                  <a:pt x="405003" y="20205"/>
                </a:lnTo>
                <a:close/>
              </a:path>
              <a:path w="720725" h="70484">
                <a:moveTo>
                  <a:pt x="427291" y="46774"/>
                </a:moveTo>
                <a:lnTo>
                  <a:pt x="413169" y="46774"/>
                </a:lnTo>
                <a:lnTo>
                  <a:pt x="414413" y="46951"/>
                </a:lnTo>
                <a:lnTo>
                  <a:pt x="416674" y="47675"/>
                </a:lnTo>
                <a:lnTo>
                  <a:pt x="429780" y="68656"/>
                </a:lnTo>
                <a:lnTo>
                  <a:pt x="438645" y="68656"/>
                </a:lnTo>
                <a:lnTo>
                  <a:pt x="428586" y="47993"/>
                </a:lnTo>
                <a:lnTo>
                  <a:pt x="427291" y="46774"/>
                </a:lnTo>
                <a:close/>
              </a:path>
              <a:path w="720725" h="70484">
                <a:moveTo>
                  <a:pt x="437248" y="20205"/>
                </a:moveTo>
                <a:lnTo>
                  <a:pt x="428485" y="20205"/>
                </a:lnTo>
                <a:lnTo>
                  <a:pt x="427088" y="24053"/>
                </a:lnTo>
                <a:lnTo>
                  <a:pt x="425970" y="26936"/>
                </a:lnTo>
                <a:lnTo>
                  <a:pt x="413588" y="40208"/>
                </a:lnTo>
                <a:lnTo>
                  <a:pt x="426626" y="40208"/>
                </a:lnTo>
                <a:lnTo>
                  <a:pt x="431330" y="34061"/>
                </a:lnTo>
                <a:lnTo>
                  <a:pt x="432663" y="31699"/>
                </a:lnTo>
                <a:lnTo>
                  <a:pt x="433209" y="30479"/>
                </a:lnTo>
                <a:lnTo>
                  <a:pt x="433920" y="28765"/>
                </a:lnTo>
                <a:lnTo>
                  <a:pt x="435864" y="23926"/>
                </a:lnTo>
                <a:lnTo>
                  <a:pt x="437248" y="20205"/>
                </a:lnTo>
                <a:close/>
              </a:path>
              <a:path w="720725" h="70484">
                <a:moveTo>
                  <a:pt x="310857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07" y="68656"/>
                </a:lnTo>
                <a:lnTo>
                  <a:pt x="308025" y="69062"/>
                </a:lnTo>
                <a:lnTo>
                  <a:pt x="314909" y="69265"/>
                </a:lnTo>
                <a:lnTo>
                  <a:pt x="330034" y="69265"/>
                </a:lnTo>
                <a:lnTo>
                  <a:pt x="334581" y="68186"/>
                </a:lnTo>
                <a:lnTo>
                  <a:pt x="339890" y="63868"/>
                </a:lnTo>
                <a:lnTo>
                  <a:pt x="340317" y="62598"/>
                </a:lnTo>
                <a:lnTo>
                  <a:pt x="322313" y="62598"/>
                </a:lnTo>
                <a:lnTo>
                  <a:pt x="310857" y="62496"/>
                </a:lnTo>
                <a:lnTo>
                  <a:pt x="310857" y="45275"/>
                </a:lnTo>
                <a:lnTo>
                  <a:pt x="340126" y="45275"/>
                </a:lnTo>
                <a:lnTo>
                  <a:pt x="339852" y="44488"/>
                </a:lnTo>
                <a:lnTo>
                  <a:pt x="334416" y="40106"/>
                </a:lnTo>
                <a:lnTo>
                  <a:pt x="329476" y="39001"/>
                </a:lnTo>
                <a:lnTo>
                  <a:pt x="310857" y="39001"/>
                </a:lnTo>
                <a:lnTo>
                  <a:pt x="310857" y="20205"/>
                </a:lnTo>
                <a:close/>
              </a:path>
              <a:path w="720725" h="70484">
                <a:moveTo>
                  <a:pt x="340126" y="45275"/>
                </a:moveTo>
                <a:lnTo>
                  <a:pt x="326288" y="45275"/>
                </a:lnTo>
                <a:lnTo>
                  <a:pt x="329006" y="45885"/>
                </a:lnTo>
                <a:lnTo>
                  <a:pt x="331927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01" y="59689"/>
                </a:lnTo>
                <a:lnTo>
                  <a:pt x="328930" y="62014"/>
                </a:lnTo>
                <a:lnTo>
                  <a:pt x="326224" y="62598"/>
                </a:lnTo>
                <a:lnTo>
                  <a:pt x="340317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2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50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50" y="27165"/>
                </a:lnTo>
                <a:lnTo>
                  <a:pt x="292150" y="20205"/>
                </a:lnTo>
                <a:close/>
              </a:path>
              <a:path w="720725" h="70484">
                <a:moveTo>
                  <a:pt x="237705" y="26174"/>
                </a:moveTo>
                <a:lnTo>
                  <a:pt x="224028" y="26174"/>
                </a:lnTo>
                <a:lnTo>
                  <a:pt x="226568" y="26796"/>
                </a:lnTo>
                <a:lnTo>
                  <a:pt x="229362" y="29324"/>
                </a:lnTo>
                <a:lnTo>
                  <a:pt x="230098" y="31483"/>
                </a:lnTo>
                <a:lnTo>
                  <a:pt x="230162" y="38811"/>
                </a:lnTo>
                <a:lnTo>
                  <a:pt x="205714" y="38811"/>
                </a:lnTo>
                <a:lnTo>
                  <a:pt x="202412" y="39852"/>
                </a:lnTo>
                <a:lnTo>
                  <a:pt x="197700" y="44030"/>
                </a:lnTo>
                <a:lnTo>
                  <a:pt x="196519" y="46964"/>
                </a:lnTo>
                <a:lnTo>
                  <a:pt x="196519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02" y="69557"/>
                </a:lnTo>
                <a:lnTo>
                  <a:pt x="214998" y="69557"/>
                </a:lnTo>
                <a:lnTo>
                  <a:pt x="218770" y="68681"/>
                </a:lnTo>
                <a:lnTo>
                  <a:pt x="225729" y="65163"/>
                </a:lnTo>
                <a:lnTo>
                  <a:pt x="228638" y="63093"/>
                </a:lnTo>
                <a:lnTo>
                  <a:pt x="229355" y="62356"/>
                </a:lnTo>
                <a:lnTo>
                  <a:pt x="215239" y="62356"/>
                </a:lnTo>
                <a:lnTo>
                  <a:pt x="212648" y="62293"/>
                </a:lnTo>
                <a:lnTo>
                  <a:pt x="210070" y="62293"/>
                </a:lnTo>
                <a:lnTo>
                  <a:pt x="208153" y="61709"/>
                </a:lnTo>
                <a:lnTo>
                  <a:pt x="205701" y="59385"/>
                </a:lnTo>
                <a:lnTo>
                  <a:pt x="205092" y="57543"/>
                </a:lnTo>
                <a:lnTo>
                  <a:pt x="205092" y="47701"/>
                </a:lnTo>
                <a:lnTo>
                  <a:pt x="207213" y="45478"/>
                </a:lnTo>
                <a:lnTo>
                  <a:pt x="211455" y="45275"/>
                </a:lnTo>
                <a:lnTo>
                  <a:pt x="238620" y="45275"/>
                </a:lnTo>
                <a:lnTo>
                  <a:pt x="238620" y="28892"/>
                </a:lnTo>
                <a:lnTo>
                  <a:pt x="237705" y="26174"/>
                </a:lnTo>
                <a:close/>
              </a:path>
              <a:path w="720725" h="70484">
                <a:moveTo>
                  <a:pt x="238620" y="60705"/>
                </a:moveTo>
                <a:lnTo>
                  <a:pt x="230962" y="60705"/>
                </a:lnTo>
                <a:lnTo>
                  <a:pt x="231952" y="68656"/>
                </a:lnTo>
                <a:lnTo>
                  <a:pt x="238620" y="68656"/>
                </a:lnTo>
                <a:lnTo>
                  <a:pt x="238620" y="60705"/>
                </a:lnTo>
                <a:close/>
              </a:path>
              <a:path w="720725" h="70484">
                <a:moveTo>
                  <a:pt x="238620" y="45275"/>
                </a:moveTo>
                <a:lnTo>
                  <a:pt x="230162" y="45275"/>
                </a:lnTo>
                <a:lnTo>
                  <a:pt x="230162" y="55029"/>
                </a:lnTo>
                <a:lnTo>
                  <a:pt x="227444" y="57416"/>
                </a:lnTo>
                <a:lnTo>
                  <a:pt x="224485" y="59245"/>
                </a:lnTo>
                <a:lnTo>
                  <a:pt x="218109" y="61760"/>
                </a:lnTo>
                <a:lnTo>
                  <a:pt x="215239" y="62356"/>
                </a:lnTo>
                <a:lnTo>
                  <a:pt x="229355" y="62356"/>
                </a:lnTo>
                <a:lnTo>
                  <a:pt x="230962" y="60705"/>
                </a:lnTo>
                <a:lnTo>
                  <a:pt x="238620" y="60705"/>
                </a:lnTo>
                <a:lnTo>
                  <a:pt x="238620" y="45275"/>
                </a:lnTo>
                <a:close/>
              </a:path>
              <a:path w="720725" h="70484">
                <a:moveTo>
                  <a:pt x="227736" y="19011"/>
                </a:moveTo>
                <a:lnTo>
                  <a:pt x="215468" y="19011"/>
                </a:lnTo>
                <a:lnTo>
                  <a:pt x="207632" y="19735"/>
                </a:lnTo>
                <a:lnTo>
                  <a:pt x="198615" y="21196"/>
                </a:lnTo>
                <a:lnTo>
                  <a:pt x="199415" y="27470"/>
                </a:lnTo>
                <a:lnTo>
                  <a:pt x="208635" y="26606"/>
                </a:lnTo>
                <a:lnTo>
                  <a:pt x="215595" y="26174"/>
                </a:lnTo>
                <a:lnTo>
                  <a:pt x="237705" y="26174"/>
                </a:lnTo>
                <a:lnTo>
                  <a:pt x="237274" y="24891"/>
                </a:lnTo>
                <a:lnTo>
                  <a:pt x="231902" y="20180"/>
                </a:lnTo>
                <a:lnTo>
                  <a:pt x="227736" y="19011"/>
                </a:lnTo>
                <a:close/>
              </a:path>
              <a:path w="720725" h="70484">
                <a:moveTo>
                  <a:pt x="139369" y="20205"/>
                </a:moveTo>
                <a:lnTo>
                  <a:pt x="126771" y="20205"/>
                </a:lnTo>
                <a:lnTo>
                  <a:pt x="125679" y="21259"/>
                </a:lnTo>
                <a:lnTo>
                  <a:pt x="125679" y="23380"/>
                </a:lnTo>
                <a:lnTo>
                  <a:pt x="123685" y="68656"/>
                </a:lnTo>
                <a:lnTo>
                  <a:pt x="131445" y="68656"/>
                </a:lnTo>
                <a:lnTo>
                  <a:pt x="133248" y="26669"/>
                </a:lnTo>
                <a:lnTo>
                  <a:pt x="142323" y="26669"/>
                </a:lnTo>
                <a:lnTo>
                  <a:pt x="140995" y="22986"/>
                </a:lnTo>
                <a:lnTo>
                  <a:pt x="140474" y="21132"/>
                </a:lnTo>
                <a:lnTo>
                  <a:pt x="139369" y="20205"/>
                </a:lnTo>
                <a:close/>
              </a:path>
              <a:path w="720725" h="70484">
                <a:moveTo>
                  <a:pt x="182448" y="26669"/>
                </a:moveTo>
                <a:lnTo>
                  <a:pt x="174637" y="26669"/>
                </a:lnTo>
                <a:lnTo>
                  <a:pt x="176530" y="68656"/>
                </a:lnTo>
                <a:lnTo>
                  <a:pt x="184391" y="68656"/>
                </a:lnTo>
                <a:lnTo>
                  <a:pt x="182448" y="26669"/>
                </a:lnTo>
                <a:close/>
              </a:path>
              <a:path w="720725" h="70484">
                <a:moveTo>
                  <a:pt x="142323" y="26669"/>
                </a:moveTo>
                <a:lnTo>
                  <a:pt x="134937" y="26669"/>
                </a:lnTo>
                <a:lnTo>
                  <a:pt x="147269" y="60604"/>
                </a:lnTo>
                <a:lnTo>
                  <a:pt x="147866" y="62458"/>
                </a:lnTo>
                <a:lnTo>
                  <a:pt x="148996" y="63385"/>
                </a:lnTo>
                <a:lnTo>
                  <a:pt x="158877" y="63385"/>
                </a:lnTo>
                <a:lnTo>
                  <a:pt x="160007" y="62458"/>
                </a:lnTo>
                <a:lnTo>
                  <a:pt x="160604" y="60604"/>
                </a:lnTo>
                <a:lnTo>
                  <a:pt x="161620" y="57810"/>
                </a:lnTo>
                <a:lnTo>
                  <a:pt x="153136" y="57810"/>
                </a:lnTo>
                <a:lnTo>
                  <a:pt x="152412" y="55029"/>
                </a:lnTo>
                <a:lnTo>
                  <a:pt x="151714" y="52704"/>
                </a:lnTo>
                <a:lnTo>
                  <a:pt x="142323" y="26669"/>
                </a:lnTo>
                <a:close/>
              </a:path>
              <a:path w="720725" h="70484">
                <a:moveTo>
                  <a:pt x="181229" y="20205"/>
                </a:moveTo>
                <a:lnTo>
                  <a:pt x="168605" y="20205"/>
                </a:lnTo>
                <a:lnTo>
                  <a:pt x="167474" y="21132"/>
                </a:lnTo>
                <a:lnTo>
                  <a:pt x="166865" y="22986"/>
                </a:lnTo>
                <a:lnTo>
                  <a:pt x="156819" y="50850"/>
                </a:lnTo>
                <a:lnTo>
                  <a:pt x="156362" y="52247"/>
                </a:lnTo>
                <a:lnTo>
                  <a:pt x="155651" y="54559"/>
                </a:lnTo>
                <a:lnTo>
                  <a:pt x="154736" y="57810"/>
                </a:lnTo>
                <a:lnTo>
                  <a:pt x="161620" y="57810"/>
                </a:lnTo>
                <a:lnTo>
                  <a:pt x="172948" y="26669"/>
                </a:lnTo>
                <a:lnTo>
                  <a:pt x="182448" y="26669"/>
                </a:lnTo>
                <a:lnTo>
                  <a:pt x="182295" y="23380"/>
                </a:lnTo>
                <a:lnTo>
                  <a:pt x="182295" y="21259"/>
                </a:lnTo>
                <a:lnTo>
                  <a:pt x="181229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77" y="20205"/>
                </a:lnTo>
                <a:lnTo>
                  <a:pt x="81292" y="21132"/>
                </a:lnTo>
                <a:lnTo>
                  <a:pt x="77304" y="24841"/>
                </a:lnTo>
                <a:lnTo>
                  <a:pt x="76085" y="27698"/>
                </a:lnTo>
                <a:lnTo>
                  <a:pt x="75628" y="31546"/>
                </a:lnTo>
                <a:lnTo>
                  <a:pt x="74358" y="43751"/>
                </a:lnTo>
                <a:lnTo>
                  <a:pt x="72936" y="51879"/>
                </a:lnTo>
                <a:lnTo>
                  <a:pt x="62788" y="62699"/>
                </a:lnTo>
                <a:lnTo>
                  <a:pt x="63677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09" y="27317"/>
                </a:lnTo>
                <a:lnTo>
                  <a:pt x="87795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83" y="0"/>
                </a:lnTo>
                <a:lnTo>
                  <a:pt x="22479" y="800"/>
                </a:lnTo>
                <a:lnTo>
                  <a:pt x="22085" y="2387"/>
                </a:lnTo>
                <a:lnTo>
                  <a:pt x="0" y="68656"/>
                </a:lnTo>
                <a:lnTo>
                  <a:pt x="9042" y="68656"/>
                </a:lnTo>
                <a:lnTo>
                  <a:pt x="15824" y="47167"/>
                </a:lnTo>
                <a:lnTo>
                  <a:pt x="52731" y="47167"/>
                </a:lnTo>
                <a:lnTo>
                  <a:pt x="50213" y="39611"/>
                </a:lnTo>
                <a:lnTo>
                  <a:pt x="18199" y="39611"/>
                </a:lnTo>
                <a:lnTo>
                  <a:pt x="26860" y="12344"/>
                </a:lnTo>
                <a:lnTo>
                  <a:pt x="28562" y="6769"/>
                </a:lnTo>
                <a:lnTo>
                  <a:pt x="39268" y="6769"/>
                </a:lnTo>
                <a:lnTo>
                  <a:pt x="37807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31" y="47167"/>
                </a:moveTo>
                <a:lnTo>
                  <a:pt x="44069" y="47167"/>
                </a:lnTo>
                <a:lnTo>
                  <a:pt x="50850" y="68656"/>
                </a:lnTo>
                <a:lnTo>
                  <a:pt x="59893" y="68656"/>
                </a:lnTo>
                <a:lnTo>
                  <a:pt x="52731" y="47167"/>
                </a:lnTo>
                <a:close/>
              </a:path>
              <a:path w="720725" h="70484">
                <a:moveTo>
                  <a:pt x="39268" y="6769"/>
                </a:moveTo>
                <a:lnTo>
                  <a:pt x="31330" y="6769"/>
                </a:lnTo>
                <a:lnTo>
                  <a:pt x="31864" y="8762"/>
                </a:lnTo>
                <a:lnTo>
                  <a:pt x="32435" y="10617"/>
                </a:lnTo>
                <a:lnTo>
                  <a:pt x="33032" y="12344"/>
                </a:lnTo>
                <a:lnTo>
                  <a:pt x="41694" y="39611"/>
                </a:lnTo>
                <a:lnTo>
                  <a:pt x="50213" y="39611"/>
                </a:lnTo>
                <a:lnTo>
                  <a:pt x="39268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3F7B30B5-B823-4492-9648-A1437B8904E3}"/>
              </a:ext>
            </a:extLst>
          </p:cNvPr>
          <p:cNvSpPr/>
          <p:nvPr/>
        </p:nvSpPr>
        <p:spPr>
          <a:xfrm>
            <a:off x="978858" y="624441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14" y="20802"/>
                </a:lnTo>
                <a:lnTo>
                  <a:pt x="507314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6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8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74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8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62" y="51193"/>
                </a:lnTo>
                <a:lnTo>
                  <a:pt x="537362" y="57950"/>
                </a:lnTo>
                <a:lnTo>
                  <a:pt x="536600" y="60286"/>
                </a:lnTo>
                <a:lnTo>
                  <a:pt x="533628" y="62611"/>
                </a:lnTo>
                <a:lnTo>
                  <a:pt x="530923" y="63195"/>
                </a:lnTo>
                <a:lnTo>
                  <a:pt x="545016" y="63195"/>
                </a:lnTo>
                <a:lnTo>
                  <a:pt x="545922" y="60502"/>
                </a:lnTo>
                <a:lnTo>
                  <a:pt x="545891" y="48945"/>
                </a:lnTo>
                <a:lnTo>
                  <a:pt x="544828" y="45885"/>
                </a:lnTo>
                <a:close/>
              </a:path>
              <a:path w="563880" h="89534">
                <a:moveTo>
                  <a:pt x="563333" y="20802"/>
                </a:moveTo>
                <a:lnTo>
                  <a:pt x="554774" y="20802"/>
                </a:lnTo>
                <a:lnTo>
                  <a:pt x="554774" y="69265"/>
                </a:lnTo>
                <a:lnTo>
                  <a:pt x="563333" y="69265"/>
                </a:lnTo>
                <a:lnTo>
                  <a:pt x="563333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87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1238" y="6473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55" y="69634"/>
                </a:lnTo>
                <a:lnTo>
                  <a:pt x="495566" y="67970"/>
                </a:lnTo>
                <a:lnTo>
                  <a:pt x="494906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64" y="33235"/>
                </a:lnTo>
                <a:lnTo>
                  <a:pt x="470636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6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2003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301" y="68973"/>
                </a:lnTo>
                <a:lnTo>
                  <a:pt x="410806" y="70154"/>
                </a:lnTo>
                <a:lnTo>
                  <a:pt x="419303" y="70154"/>
                </a:lnTo>
                <a:lnTo>
                  <a:pt x="423100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57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59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2003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57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90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41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20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2003" y="26771"/>
                </a:lnTo>
                <a:lnTo>
                  <a:pt x="441578" y="25501"/>
                </a:lnTo>
                <a:lnTo>
                  <a:pt x="436206" y="20777"/>
                </a:lnTo>
                <a:lnTo>
                  <a:pt x="432041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76" y="20802"/>
                </a:lnTo>
                <a:lnTo>
                  <a:pt x="329984" y="21856"/>
                </a:lnTo>
                <a:lnTo>
                  <a:pt x="329984" y="23977"/>
                </a:lnTo>
                <a:lnTo>
                  <a:pt x="327977" y="69265"/>
                </a:lnTo>
                <a:lnTo>
                  <a:pt x="335749" y="69265"/>
                </a:lnTo>
                <a:lnTo>
                  <a:pt x="337527" y="27266"/>
                </a:lnTo>
                <a:lnTo>
                  <a:pt x="346629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51" y="27266"/>
                </a:moveTo>
                <a:lnTo>
                  <a:pt x="378929" y="27266"/>
                </a:lnTo>
                <a:lnTo>
                  <a:pt x="380834" y="69265"/>
                </a:lnTo>
                <a:lnTo>
                  <a:pt x="388683" y="69265"/>
                </a:lnTo>
                <a:lnTo>
                  <a:pt x="386751" y="27266"/>
                </a:lnTo>
                <a:close/>
              </a:path>
              <a:path w="563880" h="89534">
                <a:moveTo>
                  <a:pt x="346629" y="27266"/>
                </a:moveTo>
                <a:lnTo>
                  <a:pt x="339229" y="27266"/>
                </a:lnTo>
                <a:lnTo>
                  <a:pt x="351574" y="61201"/>
                </a:lnTo>
                <a:lnTo>
                  <a:pt x="352170" y="63068"/>
                </a:lnTo>
                <a:lnTo>
                  <a:pt x="353301" y="63982"/>
                </a:lnTo>
                <a:lnTo>
                  <a:pt x="363181" y="63982"/>
                </a:lnTo>
                <a:lnTo>
                  <a:pt x="364312" y="63068"/>
                </a:lnTo>
                <a:lnTo>
                  <a:pt x="364909" y="61201"/>
                </a:lnTo>
                <a:lnTo>
                  <a:pt x="365919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55358" y="51447"/>
                </a:lnTo>
                <a:lnTo>
                  <a:pt x="346629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24" y="51447"/>
                </a:lnTo>
                <a:lnTo>
                  <a:pt x="360667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19" y="58420"/>
                </a:lnTo>
                <a:lnTo>
                  <a:pt x="377240" y="27266"/>
                </a:lnTo>
                <a:lnTo>
                  <a:pt x="386751" y="27266"/>
                </a:lnTo>
                <a:lnTo>
                  <a:pt x="386600" y="23977"/>
                </a:lnTo>
                <a:lnTo>
                  <a:pt x="386600" y="21856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34" y="65481"/>
                </a:lnTo>
                <a:lnTo>
                  <a:pt x="310500" y="65481"/>
                </a:lnTo>
                <a:lnTo>
                  <a:pt x="312323" y="63093"/>
                </a:lnTo>
                <a:lnTo>
                  <a:pt x="291376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67" y="29464"/>
                </a:lnTo>
                <a:lnTo>
                  <a:pt x="288068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500" y="65481"/>
                </a:moveTo>
                <a:lnTo>
                  <a:pt x="279234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52" y="68554"/>
                </a:lnTo>
                <a:lnTo>
                  <a:pt x="310500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97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23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71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8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71" y="19608"/>
                </a:lnTo>
                <a:close/>
              </a:path>
              <a:path w="563880" h="89534">
                <a:moveTo>
                  <a:pt x="254627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91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43" y="39408"/>
                </a:lnTo>
                <a:lnTo>
                  <a:pt x="219341" y="40449"/>
                </a:lnTo>
                <a:lnTo>
                  <a:pt x="214629" y="44627"/>
                </a:lnTo>
                <a:lnTo>
                  <a:pt x="213448" y="47574"/>
                </a:lnTo>
                <a:lnTo>
                  <a:pt x="213448" y="60934"/>
                </a:lnTo>
                <a:lnTo>
                  <a:pt x="214731" y="64274"/>
                </a:lnTo>
                <a:lnTo>
                  <a:pt x="219925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58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84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27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65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44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24" y="26771"/>
                </a:lnTo>
                <a:lnTo>
                  <a:pt x="254627" y="26771"/>
                </a:lnTo>
                <a:lnTo>
                  <a:pt x="254203" y="25501"/>
                </a:lnTo>
                <a:lnTo>
                  <a:pt x="248818" y="20777"/>
                </a:lnTo>
                <a:lnTo>
                  <a:pt x="244665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64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6" y="40805"/>
                </a:lnTo>
                <a:lnTo>
                  <a:pt x="170662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41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403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55" y="40805"/>
                </a:lnTo>
                <a:lnTo>
                  <a:pt x="192786" y="40805"/>
                </a:lnTo>
                <a:lnTo>
                  <a:pt x="193852" y="39789"/>
                </a:lnTo>
                <a:lnTo>
                  <a:pt x="195579" y="38087"/>
                </a:lnTo>
                <a:lnTo>
                  <a:pt x="196176" y="37185"/>
                </a:lnTo>
                <a:lnTo>
                  <a:pt x="196824" y="35928"/>
                </a:lnTo>
                <a:lnTo>
                  <a:pt x="198018" y="33693"/>
                </a:lnTo>
                <a:lnTo>
                  <a:pt x="198831" y="32296"/>
                </a:lnTo>
                <a:lnTo>
                  <a:pt x="199377" y="31076"/>
                </a:lnTo>
                <a:lnTo>
                  <a:pt x="201650" y="25425"/>
                </a:lnTo>
                <a:lnTo>
                  <a:pt x="202031" y="24536"/>
                </a:lnTo>
                <a:lnTo>
                  <a:pt x="203403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53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90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90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71" y="27368"/>
                </a:lnTo>
                <a:lnTo>
                  <a:pt x="149090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65" y="29921"/>
                </a:lnTo>
                <a:lnTo>
                  <a:pt x="89801" y="32080"/>
                </a:lnTo>
                <a:lnTo>
                  <a:pt x="89852" y="39408"/>
                </a:lnTo>
                <a:lnTo>
                  <a:pt x="65417" y="39408"/>
                </a:lnTo>
                <a:lnTo>
                  <a:pt x="62115" y="40449"/>
                </a:lnTo>
                <a:lnTo>
                  <a:pt x="57403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32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51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47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18" y="28067"/>
                </a:lnTo>
                <a:lnTo>
                  <a:pt x="68325" y="27203"/>
                </a:lnTo>
                <a:lnTo>
                  <a:pt x="75298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203" y="69265"/>
                </a:lnTo>
                <a:lnTo>
                  <a:pt x="6756" y="69862"/>
                </a:lnTo>
                <a:lnTo>
                  <a:pt x="13970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77" y="62560"/>
                </a:lnTo>
                <a:lnTo>
                  <a:pt x="8762" y="62496"/>
                </a:lnTo>
                <a:lnTo>
                  <a:pt x="8762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62" y="30149"/>
                </a:lnTo>
                <a:lnTo>
                  <a:pt x="8762" y="7861"/>
                </a:lnTo>
                <a:lnTo>
                  <a:pt x="41389" y="7861"/>
                </a:lnTo>
                <a:lnTo>
                  <a:pt x="42202" y="596"/>
                </a:lnTo>
                <a:lnTo>
                  <a:pt x="35229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61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61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9DA33786-2131-48ED-8738-5950FB556FA4}"/>
              </a:ext>
            </a:extLst>
          </p:cNvPr>
          <p:cNvSpPr/>
          <p:nvPr/>
        </p:nvSpPr>
        <p:spPr>
          <a:xfrm>
            <a:off x="977531" y="459328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52" y="103365"/>
                </a:lnTo>
                <a:lnTo>
                  <a:pt x="984504" y="105181"/>
                </a:lnTo>
                <a:lnTo>
                  <a:pt x="992517" y="105181"/>
                </a:lnTo>
                <a:lnTo>
                  <a:pt x="990206" y="110883"/>
                </a:lnTo>
                <a:lnTo>
                  <a:pt x="987107" y="114896"/>
                </a:lnTo>
                <a:lnTo>
                  <a:pt x="983195" y="117195"/>
                </a:lnTo>
                <a:lnTo>
                  <a:pt x="979398" y="119494"/>
                </a:lnTo>
                <a:lnTo>
                  <a:pt x="972934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40" y="127550"/>
                </a:lnTo>
                <a:lnTo>
                  <a:pt x="1004644" y="121813"/>
                </a:lnTo>
                <a:lnTo>
                  <a:pt x="1005484" y="120497"/>
                </a:lnTo>
                <a:lnTo>
                  <a:pt x="972934" y="120497"/>
                </a:lnTo>
                <a:lnTo>
                  <a:pt x="963815" y="120205"/>
                </a:lnTo>
                <a:lnTo>
                  <a:pt x="1005670" y="120205"/>
                </a:lnTo>
                <a:lnTo>
                  <a:pt x="1009179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21" y="90144"/>
                </a:lnTo>
                <a:lnTo>
                  <a:pt x="996327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34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60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712" y="133718"/>
                </a:lnTo>
                <a:lnTo>
                  <a:pt x="897712" y="115836"/>
                </a:lnTo>
                <a:lnTo>
                  <a:pt x="897691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712" y="87591"/>
                </a:lnTo>
                <a:lnTo>
                  <a:pt x="897712" y="53644"/>
                </a:lnTo>
                <a:lnTo>
                  <a:pt x="904913" y="48933"/>
                </a:lnTo>
                <a:lnTo>
                  <a:pt x="911034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60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4" y="103068"/>
                </a:lnTo>
                <a:lnTo>
                  <a:pt x="908335" y="105322"/>
                </a:lnTo>
                <a:lnTo>
                  <a:pt x="914864" y="106674"/>
                </a:lnTo>
                <a:lnTo>
                  <a:pt x="922045" y="107124"/>
                </a:lnTo>
                <a:lnTo>
                  <a:pt x="931773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612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93" y="105181"/>
                </a:lnTo>
                <a:lnTo>
                  <a:pt x="766213" y="105572"/>
                </a:lnTo>
                <a:lnTo>
                  <a:pt x="774511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64" y="106070"/>
                </a:lnTo>
                <a:lnTo>
                  <a:pt x="813473" y="104305"/>
                </a:lnTo>
                <a:lnTo>
                  <a:pt x="822693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8" y="70777"/>
                </a:lnTo>
                <a:lnTo>
                  <a:pt x="822591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8" y="70777"/>
                </a:moveTo>
                <a:lnTo>
                  <a:pt x="795642" y="70777"/>
                </a:lnTo>
                <a:lnTo>
                  <a:pt x="798728" y="71424"/>
                </a:lnTo>
                <a:lnTo>
                  <a:pt x="801827" y="74028"/>
                </a:lnTo>
                <a:lnTo>
                  <a:pt x="802614" y="76631"/>
                </a:lnTo>
                <a:lnTo>
                  <a:pt x="802614" y="84645"/>
                </a:lnTo>
                <a:lnTo>
                  <a:pt x="801827" y="87325"/>
                </a:lnTo>
                <a:lnTo>
                  <a:pt x="798728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8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50" y="126352"/>
                </a:lnTo>
                <a:lnTo>
                  <a:pt x="673849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80" y="70734"/>
                </a:lnTo>
                <a:lnTo>
                  <a:pt x="670138" y="80381"/>
                </a:lnTo>
                <a:lnTo>
                  <a:pt x="667092" y="89255"/>
                </a:lnTo>
                <a:lnTo>
                  <a:pt x="686625" y="89255"/>
                </a:lnTo>
                <a:lnTo>
                  <a:pt x="696290" y="48488"/>
                </a:lnTo>
                <a:lnTo>
                  <a:pt x="698792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41" y="31102"/>
                </a:lnTo>
                <a:lnTo>
                  <a:pt x="573341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34" y="106984"/>
                </a:lnTo>
                <a:lnTo>
                  <a:pt x="515690" y="106166"/>
                </a:lnTo>
                <a:lnTo>
                  <a:pt x="522892" y="103711"/>
                </a:lnTo>
                <a:lnTo>
                  <a:pt x="529439" y="99623"/>
                </a:lnTo>
                <a:lnTo>
                  <a:pt x="535330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30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15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68" y="28994"/>
                </a:lnTo>
                <a:lnTo>
                  <a:pt x="516527" y="29220"/>
                </a:lnTo>
                <a:lnTo>
                  <a:pt x="506999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56" y="47637"/>
                </a:lnTo>
                <a:lnTo>
                  <a:pt x="498570" y="47104"/>
                </a:lnTo>
                <a:lnTo>
                  <a:pt x="506815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80" y="39141"/>
                </a:lnTo>
                <a:lnTo>
                  <a:pt x="543267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6" y="82222"/>
                </a:lnTo>
                <a:lnTo>
                  <a:pt x="428955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63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52" y="133718"/>
                </a:lnTo>
                <a:lnTo>
                  <a:pt x="331152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30" y="99910"/>
                </a:lnTo>
                <a:lnTo>
                  <a:pt x="376961" y="98640"/>
                </a:lnTo>
                <a:lnTo>
                  <a:pt x="379987" y="93590"/>
                </a:lnTo>
                <a:lnTo>
                  <a:pt x="380959" y="90601"/>
                </a:lnTo>
                <a:lnTo>
                  <a:pt x="344563" y="90601"/>
                </a:lnTo>
                <a:lnTo>
                  <a:pt x="338963" y="89598"/>
                </a:lnTo>
                <a:lnTo>
                  <a:pt x="331152" y="87591"/>
                </a:lnTo>
                <a:lnTo>
                  <a:pt x="331152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75" y="46583"/>
                </a:lnTo>
                <a:lnTo>
                  <a:pt x="378562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30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64" y="104305"/>
                </a:lnTo>
                <a:lnTo>
                  <a:pt x="375930" y="99910"/>
                </a:lnTo>
                <a:close/>
              </a:path>
              <a:path w="1039494" h="136525">
                <a:moveTo>
                  <a:pt x="380375" y="46583"/>
                </a:moveTo>
                <a:lnTo>
                  <a:pt x="353783" y="46583"/>
                </a:lnTo>
                <a:lnTo>
                  <a:pt x="356781" y="48107"/>
                </a:lnTo>
                <a:lnTo>
                  <a:pt x="360197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21" y="83591"/>
                </a:lnTo>
                <a:lnTo>
                  <a:pt x="356412" y="89204"/>
                </a:lnTo>
                <a:lnTo>
                  <a:pt x="352971" y="90601"/>
                </a:lnTo>
                <a:lnTo>
                  <a:pt x="380959" y="90601"/>
                </a:lnTo>
                <a:lnTo>
                  <a:pt x="382150" y="86936"/>
                </a:lnTo>
                <a:lnTo>
                  <a:pt x="383449" y="78679"/>
                </a:lnTo>
                <a:lnTo>
                  <a:pt x="383882" y="68821"/>
                </a:lnTo>
                <a:lnTo>
                  <a:pt x="382275" y="51469"/>
                </a:lnTo>
                <a:lnTo>
                  <a:pt x="380375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52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62" y="41922"/>
                </a:lnTo>
                <a:lnTo>
                  <a:pt x="377455" y="39074"/>
                </a:lnTo>
                <a:lnTo>
                  <a:pt x="369422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26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26" y="133718"/>
                </a:lnTo>
                <a:lnTo>
                  <a:pt x="253326" y="106680"/>
                </a:lnTo>
                <a:lnTo>
                  <a:pt x="263363" y="105467"/>
                </a:lnTo>
                <a:lnTo>
                  <a:pt x="288522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14" y="45377"/>
                </a:lnTo>
                <a:lnTo>
                  <a:pt x="288236" y="44980"/>
                </a:lnTo>
                <a:lnTo>
                  <a:pt x="253326" y="29298"/>
                </a:lnTo>
                <a:lnTo>
                  <a:pt x="253326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14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27" y="54686"/>
                </a:lnTo>
                <a:lnTo>
                  <a:pt x="272249" y="60299"/>
                </a:lnTo>
                <a:lnTo>
                  <a:pt x="272249" y="76034"/>
                </a:lnTo>
                <a:lnTo>
                  <a:pt x="270827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22" y="90601"/>
                </a:lnTo>
                <a:lnTo>
                  <a:pt x="291125" y="84855"/>
                </a:lnTo>
                <a:lnTo>
                  <a:pt x="292856" y="77182"/>
                </a:lnTo>
                <a:lnTo>
                  <a:pt x="293433" y="68211"/>
                </a:lnTo>
                <a:lnTo>
                  <a:pt x="292856" y="59172"/>
                </a:lnTo>
                <a:lnTo>
                  <a:pt x="291125" y="51428"/>
                </a:lnTo>
                <a:lnTo>
                  <a:pt x="288414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38" y="31102"/>
                </a:lnTo>
                <a:lnTo>
                  <a:pt x="105638" y="105181"/>
                </a:lnTo>
                <a:lnTo>
                  <a:pt x="124561" y="105181"/>
                </a:lnTo>
                <a:lnTo>
                  <a:pt x="141243" y="81584"/>
                </a:lnTo>
                <a:lnTo>
                  <a:pt x="124561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43" y="81584"/>
                </a:lnTo>
                <a:lnTo>
                  <a:pt x="155105" y="61950"/>
                </a:lnTo>
                <a:lnTo>
                  <a:pt x="156972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403" y="1498"/>
                </a:lnTo>
                <a:lnTo>
                  <a:pt x="57403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87138EBB-EE69-425C-BA60-274B07378CA4}"/>
              </a:ext>
            </a:extLst>
          </p:cNvPr>
          <p:cNvSpPr/>
          <p:nvPr/>
        </p:nvSpPr>
        <p:spPr>
          <a:xfrm>
            <a:off x="10466922" y="-5653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23" name="Прямоугольник 222">
            <a:extLst>
              <a:ext uri="{FF2B5EF4-FFF2-40B4-BE49-F238E27FC236}">
                <a16:creationId xmlns:a16="http://schemas.microsoft.com/office/drawing/2014/main" id="{3352DD45-04AA-4CB3-8FB4-FE889E441360}"/>
              </a:ext>
            </a:extLst>
          </p:cNvPr>
          <p:cNvSpPr/>
          <p:nvPr/>
        </p:nvSpPr>
        <p:spPr>
          <a:xfrm>
            <a:off x="1447800" y="1600200"/>
            <a:ext cx="31242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ЖЫЛДЫҚ ЖОСПАР</a:t>
            </a: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r>
              <a:rPr lang="ru-RU" sz="4000" b="1" dirty="0">
                <a:solidFill>
                  <a:srgbClr val="FF000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3 626 876,0 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мың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. тенге. </a:t>
            </a: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61DCEAFC-6633-4A75-80D7-7480D82F980F}"/>
              </a:ext>
            </a:extLst>
          </p:cNvPr>
          <p:cNvSpPr/>
          <p:nvPr/>
        </p:nvSpPr>
        <p:spPr>
          <a:xfrm>
            <a:off x="5029200" y="1600200"/>
            <a:ext cx="38862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defRPr/>
            </a:pPr>
            <a:r>
              <a:rPr lang="ru-RU" b="1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Игерілгені</a:t>
            </a:r>
            <a:endParaRPr lang="ru-RU" b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endParaRPr lang="ru-RU" sz="5400" b="1" dirty="0">
              <a:solidFill>
                <a:srgbClr val="00B05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1 004 395</a:t>
            </a:r>
            <a:r>
              <a:rPr lang="ru-RU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,</a:t>
            </a:r>
            <a:r>
              <a:rPr lang="en-US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0</a:t>
            </a:r>
            <a:r>
              <a:rPr lang="ru-RU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  <a:p>
            <a:pPr algn="just">
              <a:lnSpc>
                <a:spcPts val="2000"/>
              </a:lnSpc>
              <a:defRPr/>
            </a:pPr>
            <a:r>
              <a:rPr lang="ru-RU" b="1" dirty="0" err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мың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. тенге. </a:t>
            </a: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8" name="Shape 2925"/>
          <p:cNvSpPr/>
          <p:nvPr/>
        </p:nvSpPr>
        <p:spPr>
          <a:xfrm>
            <a:off x="990600" y="2743200"/>
            <a:ext cx="11201400" cy="1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229" name="Прямоугольник 228">
            <a:extLst>
              <a:ext uri="{FF2B5EF4-FFF2-40B4-BE49-F238E27FC236}">
                <a16:creationId xmlns:a16="http://schemas.microsoft.com/office/drawing/2014/main" id="{3352DD45-04AA-4CB3-8FB4-FE889E441360}"/>
              </a:ext>
            </a:extLst>
          </p:cNvPr>
          <p:cNvSpPr/>
          <p:nvPr/>
        </p:nvSpPr>
        <p:spPr>
          <a:xfrm>
            <a:off x="1524000" y="2819400"/>
            <a:ext cx="10439400" cy="109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ЖҰМЫС ҚОРЫТЫНДЫСЫ БОЙЫНША 7 АЙ ИГЕРУДІ ҚҰРАДЫ:</a:t>
            </a: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r>
              <a:rPr lang="ru-RU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27,6 %</a:t>
            </a:r>
            <a:r>
              <a:rPr lang="ru-RU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95" name="Rectangle 7"/>
          <p:cNvSpPr>
            <a:spLocks noChangeArrowheads="1"/>
          </p:cNvSpPr>
          <p:nvPr/>
        </p:nvSpPr>
        <p:spPr bwMode="auto">
          <a:xfrm>
            <a:off x="990600" y="4177843"/>
            <a:ext cx="10668000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Басқарма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қызметкерлерінің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еңбекақысы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мен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сыйақысы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салық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төлемдерін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аудару</a:t>
            </a:r>
            <a:r>
              <a:rPr lang="ru-RU" sz="1400" dirty="0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және</a:t>
            </a:r>
            <a:endParaRPr lang="ru-RU" sz="1400" dirty="0">
              <a:latin typeface="Century Gothic" panose="020B0502020202020204" pitchFamily="34" charset="0"/>
              <a:ea typeface="Calibri" pitchFamily="34" charset="0"/>
              <a:cs typeface="Arial" pitchFamily="34" charset="0"/>
            </a:endParaRP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err="1"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а</a:t>
            </a:r>
            <a:r>
              <a:rPr kumimoji="0" lang="ru-RU" sz="1400" i="0" u="none" strike="noStrike" cap="none" normalizeH="0" dirty="0" err="1">
                <a:ln>
                  <a:noFill/>
                </a:ln>
                <a:effectLst/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ударымдар</a:t>
            </a:r>
            <a:r>
              <a:rPr kumimoji="0" lang="ru-RU" sz="140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 </a:t>
            </a:r>
            <a:r>
              <a:rPr kumimoji="0" lang="ru-RU" sz="1400" i="0" u="none" strike="noStrike" cap="none" normalizeH="0" dirty="0" err="1">
                <a:ln>
                  <a:noFill/>
                </a:ln>
                <a:effectLst/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құрады</a:t>
            </a:r>
            <a:r>
              <a:rPr kumimoji="0" lang="ru-RU" sz="140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  <a:ea typeface="Calibri" pitchFamily="34" charset="0"/>
                <a:cs typeface="Arial" pitchFamily="34" charset="0"/>
              </a:rPr>
              <a:t>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48 475,7 </a:t>
            </a:r>
            <a:r>
              <a:rPr lang="ru-RU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lang="ru-RU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Басқа қорларды сатып алу– </a:t>
            </a:r>
            <a:r>
              <a:rPr lang="en-US" sz="1400" b="1" baseline="0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2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789</a:t>
            </a:r>
            <a:r>
              <a:rPr lang="kk-KZ" sz="1400" b="1" baseline="0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9</a:t>
            </a:r>
            <a:r>
              <a:rPr lang="kk-KZ" sz="1400" b="1" baseline="0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</a:t>
            </a:r>
            <a:r>
              <a:rPr lang="kk-KZ" sz="1400" b="1" baseline="0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тенге</a:t>
            </a:r>
            <a:r>
              <a:rPr lang="kk-KZ" sz="1400" b="1" baseline="0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Коммуналдық қызметтерді төлеу</a:t>
            </a:r>
            <a:r>
              <a:rPr kumimoji="0" lang="kk-KZ" sz="140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  <a:cs typeface="Arial" pitchFamily="34" charset="0"/>
              </a:rPr>
              <a:t>– </a:t>
            </a:r>
            <a:r>
              <a:rPr kumimoji="0" lang="en-US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200</a:t>
            </a:r>
            <a:r>
              <a:rPr kumimoji="0" lang="kk-KZ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2</a:t>
            </a:r>
            <a:r>
              <a:rPr kumimoji="0" lang="kk-KZ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kumimoji="0" lang="kk-KZ" sz="1400" b="1" i="0" u="none" strike="noStrike" cap="none" normalizeH="0" dirty="0" err="1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kumimoji="0" lang="kk-KZ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.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Байланыс қызметтеріне ақы төлеу 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40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114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4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Көлік қызметтеріне ақы төлеу</a:t>
            </a:r>
            <a:r>
              <a:rPr kumimoji="0" lang="kk-KZ" sz="140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  <a:cs typeface="Arial" pitchFamily="34" charset="0"/>
              </a:rPr>
              <a:t>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4 606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0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Өзге де қызметтер мен жұмыстарға ақы төлеу 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838 527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1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Ел ішіндегі іссапарлар мен қызметтік сапарлар</a:t>
            </a:r>
            <a:r>
              <a:rPr kumimoji="0" lang="kk-KZ" sz="1400" i="0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  <a:cs typeface="Arial" pitchFamily="34" charset="0"/>
              </a:rPr>
              <a:t>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601</a:t>
            </a:r>
            <a:r>
              <a:rPr kumimoji="0" lang="kk-KZ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kumimoji="0" lang="en-US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0</a:t>
            </a:r>
            <a:r>
              <a:rPr kumimoji="0" lang="kk-KZ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</a:t>
            </a:r>
            <a:r>
              <a:rPr kumimoji="0" lang="kk-KZ" sz="1400" b="1" i="0" u="none" strike="noStrike" cap="none" normalizeH="0" dirty="0" err="1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.тенге</a:t>
            </a:r>
            <a:r>
              <a:rPr kumimoji="0" lang="kk-KZ" sz="1400" b="1" i="0" u="none" strike="noStrike" cap="none" normalizeH="0" dirty="0">
                <a:ln>
                  <a:noFill/>
                </a:ln>
                <a:solidFill>
                  <a:srgbClr val="FF0000"/>
                </a:solidFill>
                <a:effectLst/>
                <a:latin typeface="Century Gothic" panose="020B0502020202020204" pitchFamily="34" charset="0"/>
                <a:cs typeface="Arial" pitchFamily="34" charset="0"/>
              </a:rPr>
              <a:t>. </a:t>
            </a:r>
          </a:p>
          <a:p>
            <a:pPr lvl="0"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Өзге де ағымдағы шығындар </a:t>
            </a:r>
            <a:r>
              <a:rPr lang="kk-KZ" sz="1400" i="1" dirty="0">
                <a:latin typeface="Century Gothic" panose="020B0502020202020204" pitchFamily="34" charset="0"/>
                <a:cs typeface="Arial" pitchFamily="34" charset="0"/>
              </a:rPr>
              <a:t>(КТС төлеу, шетелдік шарттар бойынша РОЯЛТИ)</a:t>
            </a:r>
            <a:r>
              <a:rPr kumimoji="0" lang="kk-KZ" sz="1400" i="1" u="none" strike="noStrike" cap="none" normalizeH="0" dirty="0">
                <a:ln>
                  <a:noFill/>
                </a:ln>
                <a:effectLst/>
                <a:latin typeface="Century Gothic" panose="020B0502020202020204" pitchFamily="34" charset="0"/>
                <a:cs typeface="Arial" pitchFamily="34" charset="0"/>
              </a:rPr>
              <a:t>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4 311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6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 </a:t>
            </a:r>
            <a:endParaRPr lang="en-US" sz="1400" b="1" dirty="0">
              <a:solidFill>
                <a:srgbClr val="FF000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err="1">
                <a:latin typeface="Century Gothic" panose="020B0502020202020204" pitchFamily="34" charset="0"/>
              </a:rPr>
              <a:t>Машиналар</a:t>
            </a:r>
            <a:r>
              <a:rPr lang="ru-RU" sz="1400" dirty="0">
                <a:latin typeface="Century Gothic" panose="020B0502020202020204" pitchFamily="34" charset="0"/>
              </a:rPr>
              <a:t>, </a:t>
            </a:r>
            <a:r>
              <a:rPr lang="ru-RU" sz="1400" dirty="0" err="1">
                <a:latin typeface="Century Gothic" panose="020B0502020202020204" pitchFamily="34" charset="0"/>
              </a:rPr>
              <a:t>жабдықтар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сатып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</a:rPr>
              <a:t>алу</a:t>
            </a:r>
            <a:r>
              <a:rPr lang="kk-KZ" sz="1400" dirty="0">
                <a:latin typeface="Century Gothic" panose="020B0502020202020204" pitchFamily="34" charset="0"/>
                <a:cs typeface="Arial" pitchFamily="34" charset="0"/>
              </a:rPr>
              <a:t>– 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64 674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,</a:t>
            </a:r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6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kk-KZ" sz="1400" b="1" dirty="0" err="1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мың.тенге</a:t>
            </a:r>
            <a:r>
              <a:rPr lang="kk-KZ" sz="1400" b="1" dirty="0">
                <a:solidFill>
                  <a:srgbClr val="FF0000"/>
                </a:solidFill>
                <a:latin typeface="Century Gothic" panose="020B0502020202020204" pitchFamily="34" charset="0"/>
                <a:cs typeface="Arial" pitchFamily="34" charset="0"/>
              </a:rPr>
              <a:t>. </a:t>
            </a:r>
          </a:p>
        </p:txBody>
      </p:sp>
      <p:sp>
        <p:nvSpPr>
          <p:cNvPr id="232" name="Shape 2924"/>
          <p:cNvSpPr txBox="1">
            <a:spLocks/>
          </p:cNvSpPr>
          <p:nvPr/>
        </p:nvSpPr>
        <p:spPr>
          <a:xfrm>
            <a:off x="426156" y="3657600"/>
            <a:ext cx="11765844" cy="880954"/>
          </a:xfrm>
          <a:prstGeom prst="rect">
            <a:avLst/>
          </a:prstGeom>
        </p:spPr>
        <p:txBody>
          <a:bodyPr wrap="square" lIns="0" tIns="0" rIns="0" bIns="0">
            <a:normAutofit fontScale="60000" lnSpcReduction="20000"/>
          </a:bodyPr>
          <a:lstStyle/>
          <a:p>
            <a:pPr lvl="0" algn="ctr">
              <a:defRPr/>
            </a:pPr>
            <a:r>
              <a:rPr kumimoji="0" lang="ru-RU" sz="3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  <a:t>1.1.1 </a:t>
            </a:r>
            <a:r>
              <a:rPr lang="ru-RU" sz="3800" b="1" kern="0" dirty="0">
                <a:latin typeface="Century Gothic" panose="020B0502020202020204" pitchFamily="34" charset="0"/>
                <a:ea typeface="+mj-ea"/>
                <a:cs typeface="Tahoma"/>
              </a:rPr>
              <a:t>ИГЕРУ БОЙЫНША ТАРАТЫП ЖАЗУ</a:t>
            </a: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</a:b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</a:b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rgbClr val="2C4467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</a:br>
            <a:endParaRPr kumimoji="0" lang="ru-RU" sz="2500" b="1" i="0" u="none" strike="noStrike" kern="0" cap="none" spc="0" normalizeH="0" baseline="0" noProof="0" dirty="0">
              <a:ln>
                <a:noFill/>
              </a:ln>
              <a:solidFill>
                <a:srgbClr val="2C4467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Tahoma"/>
            </a:endParaRPr>
          </a:p>
        </p:txBody>
      </p:sp>
      <p:sp>
        <p:nvSpPr>
          <p:cNvPr id="233" name="Shape 2939"/>
          <p:cNvSpPr/>
          <p:nvPr/>
        </p:nvSpPr>
        <p:spPr>
          <a:xfrm>
            <a:off x="426155" y="3962400"/>
            <a:ext cx="11765845" cy="0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12292" name="AutoShape 4" descr="Ошибки при создании презентации или почему некоторые презентации получаются  провальным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2294" name="AutoShape 6" descr="Ошибки при создании презентаци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2296" name="AutoShape 8" descr="Что такое юридический аутсорсинг и зачем он нужен? | | Адвокатское  объединение &amp;quot;Щит-Право&amp;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2298" name="AutoShape 10" descr="Что такое юридический аутсорсинг и зачем он нужен? | | Адвокатское  объединение &amp;quot;Щит-Право&amp;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2300" name="AutoShape 12" descr="Что такое юридический аутсорсинг и зачем он нужен? | | Адвокатское  объединение &amp;quot;Щит-Право&amp;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2302" name="AutoShape 14" descr="Что такое юридический аутсорсинг и зачем он нужен? | | Адвокатское  объединение &amp;quot;Щит-Право&amp;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5079260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72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3" name="Группа 79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94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95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4" name="Группа 85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90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91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  <p:cxnSp>
        <p:nvCxnSpPr>
          <p:cNvPr id="111" name="Прямая соединительная линия 110"/>
          <p:cNvCxnSpPr/>
          <p:nvPr/>
        </p:nvCxnSpPr>
        <p:spPr>
          <a:xfrm>
            <a:off x="152400" y="1524000"/>
            <a:ext cx="1179949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bject 6"/>
          <p:cNvSpPr txBox="1">
            <a:spLocks/>
          </p:cNvSpPr>
          <p:nvPr/>
        </p:nvSpPr>
        <p:spPr>
          <a:xfrm>
            <a:off x="951978" y="1099639"/>
            <a:ext cx="1067447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>
              <a:spcBef>
                <a:spcPts val="100"/>
              </a:spcBef>
            </a:pPr>
            <a:r>
              <a:rPr lang="ru-RU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лматы </a:t>
            </a:r>
            <a:r>
              <a:rPr lang="ru-RU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сы</a:t>
            </a:r>
            <a:r>
              <a:rPr lang="ru-RU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әкімі</a:t>
            </a:r>
            <a:r>
              <a:rPr lang="ru-RU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анындағы</a:t>
            </a:r>
            <a:r>
              <a:rPr lang="ru-RU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ифрландыру</a:t>
            </a:r>
            <a:r>
              <a:rPr lang="ru-RU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фисі</a:t>
            </a:r>
            <a:endParaRPr lang="ru-RU" kern="0" spc="2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grpSp>
        <p:nvGrpSpPr>
          <p:cNvPr id="5" name="Группа 5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5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1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2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3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</p:grpSp>
      <p:grpSp>
        <p:nvGrpSpPr>
          <p:cNvPr id="6" name="Группа 68"/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7" name="Группа 73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83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84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  <p:grpSp>
          <p:nvGrpSpPr>
            <p:cNvPr id="8" name="Группа 74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77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78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itchFamily="34" charset="0"/>
                </a:endParaRPr>
              </a:p>
            </p:txBody>
          </p:sp>
        </p:grpSp>
      </p:grpSp>
      <p:pic>
        <p:nvPicPr>
          <p:cNvPr id="33" name="Рисунок 32" descr="Город">
            <a:extLst>
              <a:ext uri="{FF2B5EF4-FFF2-40B4-BE49-F238E27FC236}">
                <a16:creationId xmlns:a16="http://schemas.microsoft.com/office/drawing/2014/main" id="{C17FB0D2-8A39-477A-8A4D-7744FDD74D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4800" y="990600"/>
            <a:ext cx="533400" cy="533400"/>
          </a:xfrm>
          <a:prstGeom prst="rect">
            <a:avLst/>
          </a:prstGeom>
        </p:spPr>
      </p:pic>
      <p:sp>
        <p:nvSpPr>
          <p:cNvPr id="27" name="Текст 16"/>
          <p:cNvSpPr>
            <a:spLocks noGrp="1"/>
          </p:cNvSpPr>
          <p:nvPr>
            <p:ph type="body" idx="1"/>
          </p:nvPr>
        </p:nvSpPr>
        <p:spPr>
          <a:xfrm>
            <a:off x="228600" y="1714489"/>
            <a:ext cx="4648200" cy="2467150"/>
          </a:xfrm>
        </p:spPr>
        <p:txBody>
          <a:bodyPr/>
          <a:lstStyle/>
          <a:p>
            <a:pPr algn="just"/>
            <a:r>
              <a:rPr lang="ru-RU" sz="1600" b="1" spc="-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тқарылған</a:t>
            </a:r>
            <a:r>
              <a:rPr lang="ru-RU" sz="1600" b="1" spc="-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600" b="1" spc="-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ұмыс</a:t>
            </a:r>
            <a:r>
              <a:rPr lang="ru-RU" sz="1600" b="1" spc="-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:</a:t>
            </a:r>
          </a:p>
          <a:p>
            <a:pPr algn="just"/>
            <a:endParaRPr lang="ru-RU" sz="1600" b="1" spc="-2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  <a:p>
            <a:pPr marL="355600" marR="5080" indent="-342900" algn="just">
              <a:lnSpc>
                <a:spcPct val="1139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ифрландыр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офис</a:t>
            </a:r>
            <a:r>
              <a:rPr lang="kk-KZ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інің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17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тырыс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өтті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 algn="just">
              <a:lnSpc>
                <a:spcPct val="113900"/>
              </a:lnSpc>
              <a:spcBef>
                <a:spcPts val="100"/>
              </a:spcBef>
              <a:buFont typeface="Arial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О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ызметінің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мақсат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Алматы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сының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тұрғындар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мен оны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дамыт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,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ифрландыр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аласынд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әсіпкерлік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пен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лім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еруді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дамытуд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олда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мүддесінд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Алматы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сын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ифрландыр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шешімдер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әзірле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ән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рыңға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аясатт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іске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сыруға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әрдемдесу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лып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табылады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.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181598" y="1627761"/>
            <a:ext cx="7005406" cy="5001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spcBef>
                <a:spcPts val="100"/>
              </a:spcBef>
            </a:pPr>
            <a:r>
              <a:rPr lang="ru-RU" sz="1600" b="1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О </a:t>
            </a:r>
            <a:r>
              <a:rPr lang="ru-RU" sz="1600" b="1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тырыстарындағы</a:t>
            </a:r>
            <a:r>
              <a:rPr lang="ru-RU" sz="1600" b="1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600" b="1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мәселелер</a:t>
            </a:r>
            <a:r>
              <a:rPr lang="ru-RU" sz="1600" b="1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600" b="1" kern="0" spc="2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r>
              <a:rPr lang="ru-RU" sz="1600" b="1" kern="0" spc="2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: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лматы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сынд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су мен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ылу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қыл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есепк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л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-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нәтижелер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Азия Даму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нкіме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кринингтік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об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ӘМАТ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мониторинг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,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экономикал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ғдарламалар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ғала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ҚР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Ұлтт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нкіме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пилотт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іск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ос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рыңғ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езекші-Диспетчерлік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Қызмет-112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йланыс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рналар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олжетімділіг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ә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мтылу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Ұял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йланыс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ператорлар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елілері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дамыт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тұрғындарын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рналға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оммуналд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ызметтер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/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техникал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шарттар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еруд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втоматтандыр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рыңғ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оммуникациял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еңістік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рыңғ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йланыс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Орталығы-109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рыңғ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деректер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оймас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лматы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с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хуалд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рталығ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Уақытш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ер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пайдаланушылар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есепк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луд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втоматтандырылға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үйес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ә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ерд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пайдалан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ластері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Blockchain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технологиясы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енгіз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Open Almaty-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даму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обас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СН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рналға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проактивті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сервис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лматы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сыны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оғар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қ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орындарыме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цифрландыр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өзар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іс-қимыл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аса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д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ол-көлік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инфрақұрылым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ә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апп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иналаты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ерлерд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ейнемониторинг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ешендері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еңейт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ей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Мониторингті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ірыңғай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үйесі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анд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егіздердің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астамас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техникалық-экономикал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зертте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үргізу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;</a:t>
            </a:r>
          </a:p>
          <a:p>
            <a:pPr marL="355600" marR="5080" indent="-342900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қылды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лалар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үшін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ауіпсіз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және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экологиялық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таза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қозғалыс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 форматы </a:t>
            </a:r>
            <a:r>
              <a:rPr lang="ru-RU" sz="1200" dirty="0" err="1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бойынша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V="1">
            <a:off x="5029200" y="1676400"/>
            <a:ext cx="0" cy="46482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7">
            <a:extLst>
              <a:ext uri="{FF2B5EF4-FFF2-40B4-BE49-F238E27FC236}">
                <a16:creationId xmlns:a16="http://schemas.microsoft.com/office/drawing/2014/main" id="{39CDAC3E-989D-4665-84A3-DF7EF488F299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FAD2EE1-32A1-413F-AF5C-3866F9F7D2F1}"/>
              </a:ext>
            </a:extLst>
          </p:cNvPr>
          <p:cNvSpPr/>
          <p:nvPr/>
        </p:nvSpPr>
        <p:spPr>
          <a:xfrm>
            <a:off x="127748" y="4567448"/>
            <a:ext cx="4849904" cy="2034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8450" marR="5080" indent="-285750" algn="just">
              <a:lnSpc>
                <a:spcPct val="113900"/>
              </a:lnSpc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2022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жылғы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ақпанна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астап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апта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сайы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қала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әкімінің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және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ағыттар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арлық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әкім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орынбасарларының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қатысуыме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Цифрландыру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офисі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өткізіледі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,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егер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сізде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қала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асшылығы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деңгейіне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шығару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үшін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ұсыныстарыңыз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олса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,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төмендегі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email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жүгінулеріңізді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сұраймыз</a:t>
            </a:r>
            <a:r>
              <a:rPr lang="ru-RU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: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upr.digital@a-a.kz</a:t>
            </a:r>
            <a:endParaRPr lang="ru-RU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58508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Shape 2924"/>
          <p:cNvSpPr>
            <a:spLocks noGrp="1"/>
          </p:cNvSpPr>
          <p:nvPr>
            <p:ph type="title"/>
          </p:nvPr>
        </p:nvSpPr>
        <p:spPr>
          <a:xfrm>
            <a:off x="152400" y="1066800"/>
            <a:ext cx="11765844" cy="880954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/>
            <a:r>
              <a:rPr lang="ru-RU" dirty="0">
                <a:latin typeface="Century Gothic" panose="020B0502020202020204" pitchFamily="34" charset="0"/>
              </a:rPr>
              <a:t>2. МЕМЛЕКЕТТІК САТЫП АЛУЛАР</a:t>
            </a:r>
            <a:br>
              <a:rPr lang="ru-RU" dirty="0">
                <a:latin typeface="Century Gothic" panose="020B0502020202020204" pitchFamily="34" charset="0"/>
              </a:rPr>
            </a:br>
            <a:r>
              <a:rPr lang="ru-RU" sz="2200" dirty="0">
                <a:latin typeface="Century Gothic" panose="020B0502020202020204" pitchFamily="34" charset="0"/>
              </a:rPr>
              <a:t>2.1 КОНКУРСТАР</a:t>
            </a:r>
            <a:br>
              <a:rPr lang="ru-RU" dirty="0">
                <a:latin typeface="Century Gothic" panose="020B0502020202020204" pitchFamily="34" charset="0"/>
              </a:rPr>
            </a:br>
            <a:br>
              <a:rPr lang="en-US" dirty="0">
                <a:solidFill>
                  <a:srgbClr val="FFFFFF"/>
                </a:solidFill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</a:br>
            <a:br>
              <a:rPr lang="en-US" dirty="0">
                <a:solidFill>
                  <a:srgbClr val="2C4467"/>
                </a:solidFill>
                <a:latin typeface="Century Gothic" panose="020B0502020202020204" pitchFamily="34" charset="0"/>
              </a:rPr>
            </a:br>
            <a:endParaRPr dirty="0">
              <a:solidFill>
                <a:srgbClr val="2C4467"/>
              </a:solidFill>
              <a:latin typeface="Century Gothic" panose="020B0502020202020204" pitchFamily="34" charset="0"/>
            </a:endParaRPr>
          </a:p>
        </p:txBody>
      </p:sp>
      <p:sp>
        <p:nvSpPr>
          <p:cNvPr id="2925" name="Shape 2925"/>
          <p:cNvSpPr/>
          <p:nvPr/>
        </p:nvSpPr>
        <p:spPr>
          <a:xfrm>
            <a:off x="228600" y="1828800"/>
            <a:ext cx="11765845" cy="1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2939" name="Shape 2939"/>
          <p:cNvSpPr/>
          <p:nvPr/>
        </p:nvSpPr>
        <p:spPr>
          <a:xfrm>
            <a:off x="213078" y="990600"/>
            <a:ext cx="11765845" cy="0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3" name="object 2">
            <a:extLst>
              <a:ext uri="{FF2B5EF4-FFF2-40B4-BE49-F238E27FC236}">
                <a16:creationId xmlns:a16="http://schemas.microsoft.com/office/drawing/2014/main" id="{2BCEBE8D-BF27-47E0-AAA5-8088B7D540DB}"/>
              </a:ext>
            </a:extLst>
          </p:cNvPr>
          <p:cNvSpPr/>
          <p:nvPr/>
        </p:nvSpPr>
        <p:spPr>
          <a:xfrm>
            <a:off x="394672" y="222398"/>
            <a:ext cx="409359" cy="5004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4" name="object 3">
            <a:extLst>
              <a:ext uri="{FF2B5EF4-FFF2-40B4-BE49-F238E27FC236}">
                <a16:creationId xmlns:a16="http://schemas.microsoft.com/office/drawing/2014/main" id="{A7E6564F-361E-4233-890C-B119C53CD236}"/>
              </a:ext>
            </a:extLst>
          </p:cNvPr>
          <p:cNvSpPr/>
          <p:nvPr/>
        </p:nvSpPr>
        <p:spPr>
          <a:xfrm>
            <a:off x="971772" y="348118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84" y="20205"/>
                </a:moveTo>
                <a:lnTo>
                  <a:pt x="664629" y="20205"/>
                </a:lnTo>
                <a:lnTo>
                  <a:pt x="664629" y="68656"/>
                </a:lnTo>
                <a:lnTo>
                  <a:pt x="664921" y="68656"/>
                </a:lnTo>
                <a:lnTo>
                  <a:pt x="670026" y="69062"/>
                </a:lnTo>
                <a:lnTo>
                  <a:pt x="676922" y="69265"/>
                </a:lnTo>
                <a:lnTo>
                  <a:pt x="692061" y="69265"/>
                </a:lnTo>
                <a:lnTo>
                  <a:pt x="696595" y="68186"/>
                </a:lnTo>
                <a:lnTo>
                  <a:pt x="701903" y="63868"/>
                </a:lnTo>
                <a:lnTo>
                  <a:pt x="702331" y="62598"/>
                </a:lnTo>
                <a:lnTo>
                  <a:pt x="684326" y="62598"/>
                </a:lnTo>
                <a:lnTo>
                  <a:pt x="672884" y="62496"/>
                </a:lnTo>
                <a:lnTo>
                  <a:pt x="672884" y="45275"/>
                </a:lnTo>
                <a:lnTo>
                  <a:pt x="702149" y="45275"/>
                </a:lnTo>
                <a:lnTo>
                  <a:pt x="701878" y="44488"/>
                </a:lnTo>
                <a:lnTo>
                  <a:pt x="696429" y="40106"/>
                </a:lnTo>
                <a:lnTo>
                  <a:pt x="691502" y="39001"/>
                </a:lnTo>
                <a:lnTo>
                  <a:pt x="672884" y="39001"/>
                </a:lnTo>
                <a:lnTo>
                  <a:pt x="672884" y="20205"/>
                </a:lnTo>
                <a:close/>
              </a:path>
              <a:path w="720725" h="70484">
                <a:moveTo>
                  <a:pt x="702149" y="45275"/>
                </a:moveTo>
                <a:lnTo>
                  <a:pt x="688314" y="45275"/>
                </a:lnTo>
                <a:lnTo>
                  <a:pt x="691032" y="45885"/>
                </a:lnTo>
                <a:lnTo>
                  <a:pt x="693940" y="48348"/>
                </a:lnTo>
                <a:lnTo>
                  <a:pt x="694677" y="50584"/>
                </a:lnTo>
                <a:lnTo>
                  <a:pt x="694677" y="57353"/>
                </a:lnTo>
                <a:lnTo>
                  <a:pt x="693928" y="59689"/>
                </a:lnTo>
                <a:lnTo>
                  <a:pt x="690943" y="62014"/>
                </a:lnTo>
                <a:lnTo>
                  <a:pt x="688238" y="62598"/>
                </a:lnTo>
                <a:lnTo>
                  <a:pt x="702331" y="62598"/>
                </a:lnTo>
                <a:lnTo>
                  <a:pt x="703237" y="59905"/>
                </a:lnTo>
                <a:lnTo>
                  <a:pt x="703210" y="48348"/>
                </a:lnTo>
                <a:lnTo>
                  <a:pt x="702149" y="45275"/>
                </a:lnTo>
                <a:close/>
              </a:path>
              <a:path w="720725" h="70484">
                <a:moveTo>
                  <a:pt x="720648" y="20205"/>
                </a:moveTo>
                <a:lnTo>
                  <a:pt x="712089" y="20205"/>
                </a:lnTo>
                <a:lnTo>
                  <a:pt x="712089" y="68656"/>
                </a:lnTo>
                <a:lnTo>
                  <a:pt x="720648" y="68656"/>
                </a:lnTo>
                <a:lnTo>
                  <a:pt x="720648" y="20205"/>
                </a:lnTo>
                <a:close/>
              </a:path>
              <a:path w="720725" h="70484">
                <a:moveTo>
                  <a:pt x="642734" y="19011"/>
                </a:moveTo>
                <a:lnTo>
                  <a:pt x="628015" y="19011"/>
                </a:lnTo>
                <a:lnTo>
                  <a:pt x="622084" y="20916"/>
                </a:lnTo>
                <a:lnTo>
                  <a:pt x="615111" y="28549"/>
                </a:lnTo>
                <a:lnTo>
                  <a:pt x="613371" y="35090"/>
                </a:lnTo>
                <a:lnTo>
                  <a:pt x="613371" y="53733"/>
                </a:lnTo>
                <a:lnTo>
                  <a:pt x="615099" y="60324"/>
                </a:lnTo>
                <a:lnTo>
                  <a:pt x="621995" y="67944"/>
                </a:lnTo>
                <a:lnTo>
                  <a:pt x="627938" y="69862"/>
                </a:lnTo>
                <a:lnTo>
                  <a:pt x="642670" y="69862"/>
                </a:lnTo>
                <a:lnTo>
                  <a:pt x="648182" y="69024"/>
                </a:lnTo>
                <a:lnTo>
                  <a:pt x="652881" y="67373"/>
                </a:lnTo>
                <a:lnTo>
                  <a:pt x="652222" y="62699"/>
                </a:lnTo>
                <a:lnTo>
                  <a:pt x="631913" y="62699"/>
                </a:lnTo>
                <a:lnTo>
                  <a:pt x="627875" y="61404"/>
                </a:lnTo>
                <a:lnTo>
                  <a:pt x="623366" y="56222"/>
                </a:lnTo>
                <a:lnTo>
                  <a:pt x="622236" y="51409"/>
                </a:lnTo>
                <a:lnTo>
                  <a:pt x="622236" y="37414"/>
                </a:lnTo>
                <a:lnTo>
                  <a:pt x="623379" y="32638"/>
                </a:lnTo>
                <a:lnTo>
                  <a:pt x="627964" y="27470"/>
                </a:lnTo>
                <a:lnTo>
                  <a:pt x="631977" y="26174"/>
                </a:lnTo>
                <a:lnTo>
                  <a:pt x="651018" y="26174"/>
                </a:lnTo>
                <a:lnTo>
                  <a:pt x="651979" y="21297"/>
                </a:lnTo>
                <a:lnTo>
                  <a:pt x="647941" y="19773"/>
                </a:lnTo>
                <a:lnTo>
                  <a:pt x="642734" y="19011"/>
                </a:lnTo>
                <a:close/>
              </a:path>
              <a:path w="720725" h="70484">
                <a:moveTo>
                  <a:pt x="652081" y="61696"/>
                </a:moveTo>
                <a:lnTo>
                  <a:pt x="647903" y="62356"/>
                </a:lnTo>
                <a:lnTo>
                  <a:pt x="643128" y="62699"/>
                </a:lnTo>
                <a:lnTo>
                  <a:pt x="652222" y="62699"/>
                </a:lnTo>
                <a:lnTo>
                  <a:pt x="652081" y="61696"/>
                </a:lnTo>
                <a:close/>
              </a:path>
              <a:path w="720725" h="70484">
                <a:moveTo>
                  <a:pt x="651018" y="26174"/>
                </a:moveTo>
                <a:lnTo>
                  <a:pt x="642137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8" y="26174"/>
                </a:lnTo>
                <a:close/>
              </a:path>
              <a:path w="720725" h="70484">
                <a:moveTo>
                  <a:pt x="599334" y="26174"/>
                </a:moveTo>
                <a:lnTo>
                  <a:pt x="585647" y="26174"/>
                </a:lnTo>
                <a:lnTo>
                  <a:pt x="588200" y="26796"/>
                </a:lnTo>
                <a:lnTo>
                  <a:pt x="589584" y="28066"/>
                </a:lnTo>
                <a:lnTo>
                  <a:pt x="590994" y="29324"/>
                </a:lnTo>
                <a:lnTo>
                  <a:pt x="591718" y="31483"/>
                </a:lnTo>
                <a:lnTo>
                  <a:pt x="591781" y="38811"/>
                </a:lnTo>
                <a:lnTo>
                  <a:pt x="567334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35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390" y="68681"/>
                </a:lnTo>
                <a:lnTo>
                  <a:pt x="587362" y="65163"/>
                </a:lnTo>
                <a:lnTo>
                  <a:pt x="590257" y="63093"/>
                </a:lnTo>
                <a:lnTo>
                  <a:pt x="590974" y="62356"/>
                </a:lnTo>
                <a:lnTo>
                  <a:pt x="576846" y="62356"/>
                </a:lnTo>
                <a:lnTo>
                  <a:pt x="574268" y="62293"/>
                </a:lnTo>
                <a:lnTo>
                  <a:pt x="571677" y="62293"/>
                </a:lnTo>
                <a:lnTo>
                  <a:pt x="569772" y="61709"/>
                </a:lnTo>
                <a:lnTo>
                  <a:pt x="567309" y="59385"/>
                </a:lnTo>
                <a:lnTo>
                  <a:pt x="566712" y="57543"/>
                </a:lnTo>
                <a:lnTo>
                  <a:pt x="566712" y="47701"/>
                </a:lnTo>
                <a:lnTo>
                  <a:pt x="568833" y="45478"/>
                </a:lnTo>
                <a:lnTo>
                  <a:pt x="573087" y="45275"/>
                </a:lnTo>
                <a:lnTo>
                  <a:pt x="600240" y="45275"/>
                </a:lnTo>
                <a:lnTo>
                  <a:pt x="600240" y="28892"/>
                </a:lnTo>
                <a:lnTo>
                  <a:pt x="599334" y="26174"/>
                </a:lnTo>
                <a:close/>
              </a:path>
              <a:path w="720725" h="70484">
                <a:moveTo>
                  <a:pt x="600240" y="60705"/>
                </a:moveTo>
                <a:lnTo>
                  <a:pt x="592582" y="60705"/>
                </a:lnTo>
                <a:lnTo>
                  <a:pt x="593572" y="68656"/>
                </a:lnTo>
                <a:lnTo>
                  <a:pt x="600240" y="68656"/>
                </a:lnTo>
                <a:lnTo>
                  <a:pt x="600240" y="60705"/>
                </a:lnTo>
                <a:close/>
              </a:path>
              <a:path w="720725" h="70484">
                <a:moveTo>
                  <a:pt x="600240" y="45275"/>
                </a:moveTo>
                <a:lnTo>
                  <a:pt x="591781" y="45275"/>
                </a:lnTo>
                <a:lnTo>
                  <a:pt x="591781" y="55029"/>
                </a:lnTo>
                <a:lnTo>
                  <a:pt x="589064" y="57416"/>
                </a:lnTo>
                <a:lnTo>
                  <a:pt x="586117" y="59245"/>
                </a:lnTo>
                <a:lnTo>
                  <a:pt x="579742" y="61760"/>
                </a:lnTo>
                <a:lnTo>
                  <a:pt x="576846" y="62356"/>
                </a:lnTo>
                <a:lnTo>
                  <a:pt x="590974" y="62356"/>
                </a:lnTo>
                <a:lnTo>
                  <a:pt x="592582" y="60705"/>
                </a:lnTo>
                <a:lnTo>
                  <a:pt x="600240" y="60705"/>
                </a:lnTo>
                <a:lnTo>
                  <a:pt x="600240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088" y="19011"/>
                </a:lnTo>
                <a:lnTo>
                  <a:pt x="569264" y="19735"/>
                </a:lnTo>
                <a:lnTo>
                  <a:pt x="560235" y="21196"/>
                </a:lnTo>
                <a:lnTo>
                  <a:pt x="561035" y="27470"/>
                </a:lnTo>
                <a:lnTo>
                  <a:pt x="570255" y="26606"/>
                </a:lnTo>
                <a:lnTo>
                  <a:pt x="577227" y="26174"/>
                </a:lnTo>
                <a:lnTo>
                  <a:pt x="599334" y="26174"/>
                </a:lnTo>
                <a:lnTo>
                  <a:pt x="598906" y="24891"/>
                </a:lnTo>
                <a:lnTo>
                  <a:pt x="593521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31" y="20205"/>
                </a:lnTo>
                <a:lnTo>
                  <a:pt x="517347" y="21132"/>
                </a:lnTo>
                <a:lnTo>
                  <a:pt x="513359" y="24841"/>
                </a:lnTo>
                <a:lnTo>
                  <a:pt x="512140" y="27698"/>
                </a:lnTo>
                <a:lnTo>
                  <a:pt x="511683" y="31546"/>
                </a:lnTo>
                <a:lnTo>
                  <a:pt x="510413" y="43751"/>
                </a:lnTo>
                <a:lnTo>
                  <a:pt x="508990" y="51879"/>
                </a:lnTo>
                <a:lnTo>
                  <a:pt x="498843" y="62699"/>
                </a:lnTo>
                <a:lnTo>
                  <a:pt x="499732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85" y="29108"/>
                </a:lnTo>
                <a:lnTo>
                  <a:pt x="522363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1" y="26174"/>
                </a:moveTo>
                <a:lnTo>
                  <a:pt x="474789" y="26174"/>
                </a:lnTo>
                <a:lnTo>
                  <a:pt x="477354" y="26796"/>
                </a:lnTo>
                <a:lnTo>
                  <a:pt x="480136" y="29324"/>
                </a:lnTo>
                <a:lnTo>
                  <a:pt x="480860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86" y="39852"/>
                </a:lnTo>
                <a:lnTo>
                  <a:pt x="448475" y="44030"/>
                </a:lnTo>
                <a:lnTo>
                  <a:pt x="447294" y="46964"/>
                </a:lnTo>
                <a:lnTo>
                  <a:pt x="447294" y="60337"/>
                </a:lnTo>
                <a:lnTo>
                  <a:pt x="448589" y="63665"/>
                </a:lnTo>
                <a:lnTo>
                  <a:pt x="453758" y="68376"/>
                </a:lnTo>
                <a:lnTo>
                  <a:pt x="457276" y="69557"/>
                </a:lnTo>
                <a:lnTo>
                  <a:pt x="465759" y="69557"/>
                </a:lnTo>
                <a:lnTo>
                  <a:pt x="469531" y="68681"/>
                </a:lnTo>
                <a:lnTo>
                  <a:pt x="476504" y="65163"/>
                </a:lnTo>
                <a:lnTo>
                  <a:pt x="479412" y="63093"/>
                </a:lnTo>
                <a:lnTo>
                  <a:pt x="480125" y="62356"/>
                </a:lnTo>
                <a:lnTo>
                  <a:pt x="466001" y="62356"/>
                </a:lnTo>
                <a:lnTo>
                  <a:pt x="463423" y="62293"/>
                </a:lnTo>
                <a:lnTo>
                  <a:pt x="460832" y="62293"/>
                </a:lnTo>
                <a:lnTo>
                  <a:pt x="458914" y="61709"/>
                </a:lnTo>
                <a:lnTo>
                  <a:pt x="456463" y="59385"/>
                </a:lnTo>
                <a:lnTo>
                  <a:pt x="455853" y="57543"/>
                </a:lnTo>
                <a:lnTo>
                  <a:pt x="455853" y="47701"/>
                </a:lnTo>
                <a:lnTo>
                  <a:pt x="457974" y="45478"/>
                </a:lnTo>
                <a:lnTo>
                  <a:pt x="462216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1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23" y="60705"/>
                </a:lnTo>
                <a:lnTo>
                  <a:pt x="482714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05" y="57416"/>
                </a:lnTo>
                <a:lnTo>
                  <a:pt x="475246" y="59245"/>
                </a:lnTo>
                <a:lnTo>
                  <a:pt x="468896" y="61760"/>
                </a:lnTo>
                <a:lnTo>
                  <a:pt x="466001" y="62356"/>
                </a:lnTo>
                <a:lnTo>
                  <a:pt x="480125" y="62356"/>
                </a:lnTo>
                <a:lnTo>
                  <a:pt x="481723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497" y="19011"/>
                </a:moveTo>
                <a:lnTo>
                  <a:pt x="466242" y="19011"/>
                </a:lnTo>
                <a:lnTo>
                  <a:pt x="458406" y="19735"/>
                </a:lnTo>
                <a:lnTo>
                  <a:pt x="449376" y="21196"/>
                </a:lnTo>
                <a:lnTo>
                  <a:pt x="450176" y="27470"/>
                </a:lnTo>
                <a:lnTo>
                  <a:pt x="459397" y="26606"/>
                </a:lnTo>
                <a:lnTo>
                  <a:pt x="466369" y="26174"/>
                </a:lnTo>
                <a:lnTo>
                  <a:pt x="488471" y="26174"/>
                </a:lnTo>
                <a:lnTo>
                  <a:pt x="488035" y="24891"/>
                </a:lnTo>
                <a:lnTo>
                  <a:pt x="482663" y="20180"/>
                </a:lnTo>
                <a:lnTo>
                  <a:pt x="478497" y="19011"/>
                </a:lnTo>
                <a:close/>
              </a:path>
              <a:path w="720725" h="70484">
                <a:moveTo>
                  <a:pt x="405003" y="20205"/>
                </a:moveTo>
                <a:lnTo>
                  <a:pt x="396544" y="20205"/>
                </a:lnTo>
                <a:lnTo>
                  <a:pt x="396544" y="68656"/>
                </a:lnTo>
                <a:lnTo>
                  <a:pt x="405003" y="68656"/>
                </a:lnTo>
                <a:lnTo>
                  <a:pt x="404878" y="49060"/>
                </a:lnTo>
                <a:lnTo>
                  <a:pt x="404609" y="46774"/>
                </a:lnTo>
                <a:lnTo>
                  <a:pt x="427291" y="46774"/>
                </a:lnTo>
                <a:lnTo>
                  <a:pt x="418731" y="43586"/>
                </a:lnTo>
                <a:lnTo>
                  <a:pt x="418731" y="43281"/>
                </a:lnTo>
                <a:lnTo>
                  <a:pt x="426626" y="40208"/>
                </a:lnTo>
                <a:lnTo>
                  <a:pt x="404507" y="40208"/>
                </a:lnTo>
                <a:lnTo>
                  <a:pt x="404783" y="38544"/>
                </a:lnTo>
                <a:lnTo>
                  <a:pt x="404903" y="37477"/>
                </a:lnTo>
                <a:lnTo>
                  <a:pt x="405003" y="20205"/>
                </a:lnTo>
                <a:close/>
              </a:path>
              <a:path w="720725" h="70484">
                <a:moveTo>
                  <a:pt x="427291" y="46774"/>
                </a:moveTo>
                <a:lnTo>
                  <a:pt x="413169" y="46774"/>
                </a:lnTo>
                <a:lnTo>
                  <a:pt x="414413" y="46951"/>
                </a:lnTo>
                <a:lnTo>
                  <a:pt x="416674" y="47675"/>
                </a:lnTo>
                <a:lnTo>
                  <a:pt x="429780" y="68656"/>
                </a:lnTo>
                <a:lnTo>
                  <a:pt x="438645" y="68656"/>
                </a:lnTo>
                <a:lnTo>
                  <a:pt x="428586" y="47993"/>
                </a:lnTo>
                <a:lnTo>
                  <a:pt x="427291" y="46774"/>
                </a:lnTo>
                <a:close/>
              </a:path>
              <a:path w="720725" h="70484">
                <a:moveTo>
                  <a:pt x="437248" y="20205"/>
                </a:moveTo>
                <a:lnTo>
                  <a:pt x="428485" y="20205"/>
                </a:lnTo>
                <a:lnTo>
                  <a:pt x="427088" y="24053"/>
                </a:lnTo>
                <a:lnTo>
                  <a:pt x="425970" y="26936"/>
                </a:lnTo>
                <a:lnTo>
                  <a:pt x="413588" y="40208"/>
                </a:lnTo>
                <a:lnTo>
                  <a:pt x="426626" y="40208"/>
                </a:lnTo>
                <a:lnTo>
                  <a:pt x="431330" y="34061"/>
                </a:lnTo>
                <a:lnTo>
                  <a:pt x="432663" y="31699"/>
                </a:lnTo>
                <a:lnTo>
                  <a:pt x="433209" y="30479"/>
                </a:lnTo>
                <a:lnTo>
                  <a:pt x="433920" y="28765"/>
                </a:lnTo>
                <a:lnTo>
                  <a:pt x="435864" y="23926"/>
                </a:lnTo>
                <a:lnTo>
                  <a:pt x="437248" y="20205"/>
                </a:lnTo>
                <a:close/>
              </a:path>
              <a:path w="720725" h="70484">
                <a:moveTo>
                  <a:pt x="310857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07" y="68656"/>
                </a:lnTo>
                <a:lnTo>
                  <a:pt x="308025" y="69062"/>
                </a:lnTo>
                <a:lnTo>
                  <a:pt x="314909" y="69265"/>
                </a:lnTo>
                <a:lnTo>
                  <a:pt x="330034" y="69265"/>
                </a:lnTo>
                <a:lnTo>
                  <a:pt x="334581" y="68186"/>
                </a:lnTo>
                <a:lnTo>
                  <a:pt x="339890" y="63868"/>
                </a:lnTo>
                <a:lnTo>
                  <a:pt x="340317" y="62598"/>
                </a:lnTo>
                <a:lnTo>
                  <a:pt x="322313" y="62598"/>
                </a:lnTo>
                <a:lnTo>
                  <a:pt x="310857" y="62496"/>
                </a:lnTo>
                <a:lnTo>
                  <a:pt x="310857" y="45275"/>
                </a:lnTo>
                <a:lnTo>
                  <a:pt x="340126" y="45275"/>
                </a:lnTo>
                <a:lnTo>
                  <a:pt x="339852" y="44488"/>
                </a:lnTo>
                <a:lnTo>
                  <a:pt x="334416" y="40106"/>
                </a:lnTo>
                <a:lnTo>
                  <a:pt x="329476" y="39001"/>
                </a:lnTo>
                <a:lnTo>
                  <a:pt x="310857" y="39001"/>
                </a:lnTo>
                <a:lnTo>
                  <a:pt x="310857" y="20205"/>
                </a:lnTo>
                <a:close/>
              </a:path>
              <a:path w="720725" h="70484">
                <a:moveTo>
                  <a:pt x="340126" y="45275"/>
                </a:moveTo>
                <a:lnTo>
                  <a:pt x="326288" y="45275"/>
                </a:lnTo>
                <a:lnTo>
                  <a:pt x="329006" y="45885"/>
                </a:lnTo>
                <a:lnTo>
                  <a:pt x="331927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01" y="59689"/>
                </a:lnTo>
                <a:lnTo>
                  <a:pt x="328930" y="62014"/>
                </a:lnTo>
                <a:lnTo>
                  <a:pt x="326224" y="62598"/>
                </a:lnTo>
                <a:lnTo>
                  <a:pt x="340317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2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50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50" y="27165"/>
                </a:lnTo>
                <a:lnTo>
                  <a:pt x="292150" y="20205"/>
                </a:lnTo>
                <a:close/>
              </a:path>
              <a:path w="720725" h="70484">
                <a:moveTo>
                  <a:pt x="237705" y="26174"/>
                </a:moveTo>
                <a:lnTo>
                  <a:pt x="224028" y="26174"/>
                </a:lnTo>
                <a:lnTo>
                  <a:pt x="226568" y="26796"/>
                </a:lnTo>
                <a:lnTo>
                  <a:pt x="229362" y="29324"/>
                </a:lnTo>
                <a:lnTo>
                  <a:pt x="230098" y="31483"/>
                </a:lnTo>
                <a:lnTo>
                  <a:pt x="230162" y="38811"/>
                </a:lnTo>
                <a:lnTo>
                  <a:pt x="205714" y="38811"/>
                </a:lnTo>
                <a:lnTo>
                  <a:pt x="202412" y="39852"/>
                </a:lnTo>
                <a:lnTo>
                  <a:pt x="197700" y="44030"/>
                </a:lnTo>
                <a:lnTo>
                  <a:pt x="196519" y="46964"/>
                </a:lnTo>
                <a:lnTo>
                  <a:pt x="196519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02" y="69557"/>
                </a:lnTo>
                <a:lnTo>
                  <a:pt x="214998" y="69557"/>
                </a:lnTo>
                <a:lnTo>
                  <a:pt x="218770" y="68681"/>
                </a:lnTo>
                <a:lnTo>
                  <a:pt x="225729" y="65163"/>
                </a:lnTo>
                <a:lnTo>
                  <a:pt x="228638" y="63093"/>
                </a:lnTo>
                <a:lnTo>
                  <a:pt x="229355" y="62356"/>
                </a:lnTo>
                <a:lnTo>
                  <a:pt x="215239" y="62356"/>
                </a:lnTo>
                <a:lnTo>
                  <a:pt x="212648" y="62293"/>
                </a:lnTo>
                <a:lnTo>
                  <a:pt x="210070" y="62293"/>
                </a:lnTo>
                <a:lnTo>
                  <a:pt x="208153" y="61709"/>
                </a:lnTo>
                <a:lnTo>
                  <a:pt x="205701" y="59385"/>
                </a:lnTo>
                <a:lnTo>
                  <a:pt x="205092" y="57543"/>
                </a:lnTo>
                <a:lnTo>
                  <a:pt x="205092" y="47701"/>
                </a:lnTo>
                <a:lnTo>
                  <a:pt x="207213" y="45478"/>
                </a:lnTo>
                <a:lnTo>
                  <a:pt x="211455" y="45275"/>
                </a:lnTo>
                <a:lnTo>
                  <a:pt x="238620" y="45275"/>
                </a:lnTo>
                <a:lnTo>
                  <a:pt x="238620" y="28892"/>
                </a:lnTo>
                <a:lnTo>
                  <a:pt x="237705" y="26174"/>
                </a:lnTo>
                <a:close/>
              </a:path>
              <a:path w="720725" h="70484">
                <a:moveTo>
                  <a:pt x="238620" y="60705"/>
                </a:moveTo>
                <a:lnTo>
                  <a:pt x="230962" y="60705"/>
                </a:lnTo>
                <a:lnTo>
                  <a:pt x="231952" y="68656"/>
                </a:lnTo>
                <a:lnTo>
                  <a:pt x="238620" y="68656"/>
                </a:lnTo>
                <a:lnTo>
                  <a:pt x="238620" y="60705"/>
                </a:lnTo>
                <a:close/>
              </a:path>
              <a:path w="720725" h="70484">
                <a:moveTo>
                  <a:pt x="238620" y="45275"/>
                </a:moveTo>
                <a:lnTo>
                  <a:pt x="230162" y="45275"/>
                </a:lnTo>
                <a:lnTo>
                  <a:pt x="230162" y="55029"/>
                </a:lnTo>
                <a:lnTo>
                  <a:pt x="227444" y="57416"/>
                </a:lnTo>
                <a:lnTo>
                  <a:pt x="224485" y="59245"/>
                </a:lnTo>
                <a:lnTo>
                  <a:pt x="218109" y="61760"/>
                </a:lnTo>
                <a:lnTo>
                  <a:pt x="215239" y="62356"/>
                </a:lnTo>
                <a:lnTo>
                  <a:pt x="229355" y="62356"/>
                </a:lnTo>
                <a:lnTo>
                  <a:pt x="230962" y="60705"/>
                </a:lnTo>
                <a:lnTo>
                  <a:pt x="238620" y="60705"/>
                </a:lnTo>
                <a:lnTo>
                  <a:pt x="238620" y="45275"/>
                </a:lnTo>
                <a:close/>
              </a:path>
              <a:path w="720725" h="70484">
                <a:moveTo>
                  <a:pt x="227736" y="19011"/>
                </a:moveTo>
                <a:lnTo>
                  <a:pt x="215468" y="19011"/>
                </a:lnTo>
                <a:lnTo>
                  <a:pt x="207632" y="19735"/>
                </a:lnTo>
                <a:lnTo>
                  <a:pt x="198615" y="21196"/>
                </a:lnTo>
                <a:lnTo>
                  <a:pt x="199415" y="27470"/>
                </a:lnTo>
                <a:lnTo>
                  <a:pt x="208635" y="26606"/>
                </a:lnTo>
                <a:lnTo>
                  <a:pt x="215595" y="26174"/>
                </a:lnTo>
                <a:lnTo>
                  <a:pt x="237705" y="26174"/>
                </a:lnTo>
                <a:lnTo>
                  <a:pt x="237274" y="24891"/>
                </a:lnTo>
                <a:lnTo>
                  <a:pt x="231902" y="20180"/>
                </a:lnTo>
                <a:lnTo>
                  <a:pt x="227736" y="19011"/>
                </a:lnTo>
                <a:close/>
              </a:path>
              <a:path w="720725" h="70484">
                <a:moveTo>
                  <a:pt x="139369" y="20205"/>
                </a:moveTo>
                <a:lnTo>
                  <a:pt x="126771" y="20205"/>
                </a:lnTo>
                <a:lnTo>
                  <a:pt x="125679" y="21259"/>
                </a:lnTo>
                <a:lnTo>
                  <a:pt x="125679" y="23380"/>
                </a:lnTo>
                <a:lnTo>
                  <a:pt x="123685" y="68656"/>
                </a:lnTo>
                <a:lnTo>
                  <a:pt x="131445" y="68656"/>
                </a:lnTo>
                <a:lnTo>
                  <a:pt x="133248" y="26669"/>
                </a:lnTo>
                <a:lnTo>
                  <a:pt x="142323" y="26669"/>
                </a:lnTo>
                <a:lnTo>
                  <a:pt x="140995" y="22986"/>
                </a:lnTo>
                <a:lnTo>
                  <a:pt x="140474" y="21132"/>
                </a:lnTo>
                <a:lnTo>
                  <a:pt x="139369" y="20205"/>
                </a:lnTo>
                <a:close/>
              </a:path>
              <a:path w="720725" h="70484">
                <a:moveTo>
                  <a:pt x="182448" y="26669"/>
                </a:moveTo>
                <a:lnTo>
                  <a:pt x="174637" y="26669"/>
                </a:lnTo>
                <a:lnTo>
                  <a:pt x="176530" y="68656"/>
                </a:lnTo>
                <a:lnTo>
                  <a:pt x="184391" y="68656"/>
                </a:lnTo>
                <a:lnTo>
                  <a:pt x="182448" y="26669"/>
                </a:lnTo>
                <a:close/>
              </a:path>
              <a:path w="720725" h="70484">
                <a:moveTo>
                  <a:pt x="142323" y="26669"/>
                </a:moveTo>
                <a:lnTo>
                  <a:pt x="134937" y="26669"/>
                </a:lnTo>
                <a:lnTo>
                  <a:pt x="147269" y="60604"/>
                </a:lnTo>
                <a:lnTo>
                  <a:pt x="147866" y="62458"/>
                </a:lnTo>
                <a:lnTo>
                  <a:pt x="148996" y="63385"/>
                </a:lnTo>
                <a:lnTo>
                  <a:pt x="158877" y="63385"/>
                </a:lnTo>
                <a:lnTo>
                  <a:pt x="160007" y="62458"/>
                </a:lnTo>
                <a:lnTo>
                  <a:pt x="160604" y="60604"/>
                </a:lnTo>
                <a:lnTo>
                  <a:pt x="161620" y="57810"/>
                </a:lnTo>
                <a:lnTo>
                  <a:pt x="153136" y="57810"/>
                </a:lnTo>
                <a:lnTo>
                  <a:pt x="152412" y="55029"/>
                </a:lnTo>
                <a:lnTo>
                  <a:pt x="151714" y="52704"/>
                </a:lnTo>
                <a:lnTo>
                  <a:pt x="142323" y="26669"/>
                </a:lnTo>
                <a:close/>
              </a:path>
              <a:path w="720725" h="70484">
                <a:moveTo>
                  <a:pt x="181229" y="20205"/>
                </a:moveTo>
                <a:lnTo>
                  <a:pt x="168605" y="20205"/>
                </a:lnTo>
                <a:lnTo>
                  <a:pt x="167474" y="21132"/>
                </a:lnTo>
                <a:lnTo>
                  <a:pt x="166865" y="22986"/>
                </a:lnTo>
                <a:lnTo>
                  <a:pt x="156819" y="50850"/>
                </a:lnTo>
                <a:lnTo>
                  <a:pt x="156362" y="52247"/>
                </a:lnTo>
                <a:lnTo>
                  <a:pt x="155651" y="54559"/>
                </a:lnTo>
                <a:lnTo>
                  <a:pt x="154736" y="57810"/>
                </a:lnTo>
                <a:lnTo>
                  <a:pt x="161620" y="57810"/>
                </a:lnTo>
                <a:lnTo>
                  <a:pt x="172948" y="26669"/>
                </a:lnTo>
                <a:lnTo>
                  <a:pt x="182448" y="26669"/>
                </a:lnTo>
                <a:lnTo>
                  <a:pt x="182295" y="23380"/>
                </a:lnTo>
                <a:lnTo>
                  <a:pt x="182295" y="21259"/>
                </a:lnTo>
                <a:lnTo>
                  <a:pt x="181229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77" y="20205"/>
                </a:lnTo>
                <a:lnTo>
                  <a:pt x="81292" y="21132"/>
                </a:lnTo>
                <a:lnTo>
                  <a:pt x="77304" y="24841"/>
                </a:lnTo>
                <a:lnTo>
                  <a:pt x="76085" y="27698"/>
                </a:lnTo>
                <a:lnTo>
                  <a:pt x="75628" y="31546"/>
                </a:lnTo>
                <a:lnTo>
                  <a:pt x="74358" y="43751"/>
                </a:lnTo>
                <a:lnTo>
                  <a:pt x="72936" y="51879"/>
                </a:lnTo>
                <a:lnTo>
                  <a:pt x="62788" y="62699"/>
                </a:lnTo>
                <a:lnTo>
                  <a:pt x="63677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09" y="27317"/>
                </a:lnTo>
                <a:lnTo>
                  <a:pt x="87795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83" y="0"/>
                </a:lnTo>
                <a:lnTo>
                  <a:pt x="22479" y="800"/>
                </a:lnTo>
                <a:lnTo>
                  <a:pt x="22085" y="2387"/>
                </a:lnTo>
                <a:lnTo>
                  <a:pt x="0" y="68656"/>
                </a:lnTo>
                <a:lnTo>
                  <a:pt x="9042" y="68656"/>
                </a:lnTo>
                <a:lnTo>
                  <a:pt x="15824" y="47167"/>
                </a:lnTo>
                <a:lnTo>
                  <a:pt x="52731" y="47167"/>
                </a:lnTo>
                <a:lnTo>
                  <a:pt x="50213" y="39611"/>
                </a:lnTo>
                <a:lnTo>
                  <a:pt x="18199" y="39611"/>
                </a:lnTo>
                <a:lnTo>
                  <a:pt x="26860" y="12344"/>
                </a:lnTo>
                <a:lnTo>
                  <a:pt x="28562" y="6769"/>
                </a:lnTo>
                <a:lnTo>
                  <a:pt x="39268" y="6769"/>
                </a:lnTo>
                <a:lnTo>
                  <a:pt x="37807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31" y="47167"/>
                </a:moveTo>
                <a:lnTo>
                  <a:pt x="44069" y="47167"/>
                </a:lnTo>
                <a:lnTo>
                  <a:pt x="50850" y="68656"/>
                </a:lnTo>
                <a:lnTo>
                  <a:pt x="59893" y="68656"/>
                </a:lnTo>
                <a:lnTo>
                  <a:pt x="52731" y="47167"/>
                </a:lnTo>
                <a:close/>
              </a:path>
              <a:path w="720725" h="70484">
                <a:moveTo>
                  <a:pt x="39268" y="6769"/>
                </a:moveTo>
                <a:lnTo>
                  <a:pt x="31330" y="6769"/>
                </a:lnTo>
                <a:lnTo>
                  <a:pt x="31864" y="8762"/>
                </a:lnTo>
                <a:lnTo>
                  <a:pt x="32435" y="10617"/>
                </a:lnTo>
                <a:lnTo>
                  <a:pt x="33032" y="12344"/>
                </a:lnTo>
                <a:lnTo>
                  <a:pt x="41694" y="39611"/>
                </a:lnTo>
                <a:lnTo>
                  <a:pt x="50213" y="39611"/>
                </a:lnTo>
                <a:lnTo>
                  <a:pt x="39268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3F7B30B5-B823-4492-9648-A1437B8904E3}"/>
              </a:ext>
            </a:extLst>
          </p:cNvPr>
          <p:cNvSpPr/>
          <p:nvPr/>
        </p:nvSpPr>
        <p:spPr>
          <a:xfrm>
            <a:off x="978858" y="624441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14" y="20802"/>
                </a:lnTo>
                <a:lnTo>
                  <a:pt x="507314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6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8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74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8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62" y="51193"/>
                </a:lnTo>
                <a:lnTo>
                  <a:pt x="537362" y="57950"/>
                </a:lnTo>
                <a:lnTo>
                  <a:pt x="536600" y="60286"/>
                </a:lnTo>
                <a:lnTo>
                  <a:pt x="533628" y="62611"/>
                </a:lnTo>
                <a:lnTo>
                  <a:pt x="530923" y="63195"/>
                </a:lnTo>
                <a:lnTo>
                  <a:pt x="545016" y="63195"/>
                </a:lnTo>
                <a:lnTo>
                  <a:pt x="545922" y="60502"/>
                </a:lnTo>
                <a:lnTo>
                  <a:pt x="545891" y="48945"/>
                </a:lnTo>
                <a:lnTo>
                  <a:pt x="544828" y="45885"/>
                </a:lnTo>
                <a:close/>
              </a:path>
              <a:path w="563880" h="89534">
                <a:moveTo>
                  <a:pt x="563333" y="20802"/>
                </a:moveTo>
                <a:lnTo>
                  <a:pt x="554774" y="20802"/>
                </a:lnTo>
                <a:lnTo>
                  <a:pt x="554774" y="69265"/>
                </a:lnTo>
                <a:lnTo>
                  <a:pt x="563333" y="69265"/>
                </a:lnTo>
                <a:lnTo>
                  <a:pt x="563333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87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1238" y="6473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55" y="69634"/>
                </a:lnTo>
                <a:lnTo>
                  <a:pt x="495566" y="67970"/>
                </a:lnTo>
                <a:lnTo>
                  <a:pt x="494906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64" y="33235"/>
                </a:lnTo>
                <a:lnTo>
                  <a:pt x="470636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6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2003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301" y="68973"/>
                </a:lnTo>
                <a:lnTo>
                  <a:pt x="410806" y="70154"/>
                </a:lnTo>
                <a:lnTo>
                  <a:pt x="419303" y="70154"/>
                </a:lnTo>
                <a:lnTo>
                  <a:pt x="423100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57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59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2003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57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90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41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20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2003" y="26771"/>
                </a:lnTo>
                <a:lnTo>
                  <a:pt x="441578" y="25501"/>
                </a:lnTo>
                <a:lnTo>
                  <a:pt x="436206" y="20777"/>
                </a:lnTo>
                <a:lnTo>
                  <a:pt x="432041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76" y="20802"/>
                </a:lnTo>
                <a:lnTo>
                  <a:pt x="329984" y="21856"/>
                </a:lnTo>
                <a:lnTo>
                  <a:pt x="329984" y="23977"/>
                </a:lnTo>
                <a:lnTo>
                  <a:pt x="327977" y="69265"/>
                </a:lnTo>
                <a:lnTo>
                  <a:pt x="335749" y="69265"/>
                </a:lnTo>
                <a:lnTo>
                  <a:pt x="337527" y="27266"/>
                </a:lnTo>
                <a:lnTo>
                  <a:pt x="346629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51" y="27266"/>
                </a:moveTo>
                <a:lnTo>
                  <a:pt x="378929" y="27266"/>
                </a:lnTo>
                <a:lnTo>
                  <a:pt x="380834" y="69265"/>
                </a:lnTo>
                <a:lnTo>
                  <a:pt x="388683" y="69265"/>
                </a:lnTo>
                <a:lnTo>
                  <a:pt x="386751" y="27266"/>
                </a:lnTo>
                <a:close/>
              </a:path>
              <a:path w="563880" h="89534">
                <a:moveTo>
                  <a:pt x="346629" y="27266"/>
                </a:moveTo>
                <a:lnTo>
                  <a:pt x="339229" y="27266"/>
                </a:lnTo>
                <a:lnTo>
                  <a:pt x="351574" y="61201"/>
                </a:lnTo>
                <a:lnTo>
                  <a:pt x="352170" y="63068"/>
                </a:lnTo>
                <a:lnTo>
                  <a:pt x="353301" y="63982"/>
                </a:lnTo>
                <a:lnTo>
                  <a:pt x="363181" y="63982"/>
                </a:lnTo>
                <a:lnTo>
                  <a:pt x="364312" y="63068"/>
                </a:lnTo>
                <a:lnTo>
                  <a:pt x="364909" y="61201"/>
                </a:lnTo>
                <a:lnTo>
                  <a:pt x="365919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55358" y="51447"/>
                </a:lnTo>
                <a:lnTo>
                  <a:pt x="346629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24" y="51447"/>
                </a:lnTo>
                <a:lnTo>
                  <a:pt x="360667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19" y="58420"/>
                </a:lnTo>
                <a:lnTo>
                  <a:pt x="377240" y="27266"/>
                </a:lnTo>
                <a:lnTo>
                  <a:pt x="386751" y="27266"/>
                </a:lnTo>
                <a:lnTo>
                  <a:pt x="386600" y="23977"/>
                </a:lnTo>
                <a:lnTo>
                  <a:pt x="386600" y="21856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34" y="65481"/>
                </a:lnTo>
                <a:lnTo>
                  <a:pt x="310500" y="65481"/>
                </a:lnTo>
                <a:lnTo>
                  <a:pt x="312323" y="63093"/>
                </a:lnTo>
                <a:lnTo>
                  <a:pt x="291376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67" y="29464"/>
                </a:lnTo>
                <a:lnTo>
                  <a:pt x="288068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500" y="65481"/>
                </a:moveTo>
                <a:lnTo>
                  <a:pt x="279234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52" y="68554"/>
                </a:lnTo>
                <a:lnTo>
                  <a:pt x="310500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97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23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71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8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71" y="19608"/>
                </a:lnTo>
                <a:close/>
              </a:path>
              <a:path w="563880" h="89534">
                <a:moveTo>
                  <a:pt x="254627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91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43" y="39408"/>
                </a:lnTo>
                <a:lnTo>
                  <a:pt x="219341" y="40449"/>
                </a:lnTo>
                <a:lnTo>
                  <a:pt x="214629" y="44627"/>
                </a:lnTo>
                <a:lnTo>
                  <a:pt x="213448" y="47574"/>
                </a:lnTo>
                <a:lnTo>
                  <a:pt x="213448" y="60934"/>
                </a:lnTo>
                <a:lnTo>
                  <a:pt x="214731" y="64274"/>
                </a:lnTo>
                <a:lnTo>
                  <a:pt x="219925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58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84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27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65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44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24" y="26771"/>
                </a:lnTo>
                <a:lnTo>
                  <a:pt x="254627" y="26771"/>
                </a:lnTo>
                <a:lnTo>
                  <a:pt x="254203" y="25501"/>
                </a:lnTo>
                <a:lnTo>
                  <a:pt x="248818" y="20777"/>
                </a:lnTo>
                <a:lnTo>
                  <a:pt x="244665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64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6" y="40805"/>
                </a:lnTo>
                <a:lnTo>
                  <a:pt x="170662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41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403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55" y="40805"/>
                </a:lnTo>
                <a:lnTo>
                  <a:pt x="192786" y="40805"/>
                </a:lnTo>
                <a:lnTo>
                  <a:pt x="193852" y="39789"/>
                </a:lnTo>
                <a:lnTo>
                  <a:pt x="195579" y="38087"/>
                </a:lnTo>
                <a:lnTo>
                  <a:pt x="196176" y="37185"/>
                </a:lnTo>
                <a:lnTo>
                  <a:pt x="196824" y="35928"/>
                </a:lnTo>
                <a:lnTo>
                  <a:pt x="198018" y="33693"/>
                </a:lnTo>
                <a:lnTo>
                  <a:pt x="198831" y="32296"/>
                </a:lnTo>
                <a:lnTo>
                  <a:pt x="199377" y="31076"/>
                </a:lnTo>
                <a:lnTo>
                  <a:pt x="201650" y="25425"/>
                </a:lnTo>
                <a:lnTo>
                  <a:pt x="202031" y="24536"/>
                </a:lnTo>
                <a:lnTo>
                  <a:pt x="203403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53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90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90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71" y="27368"/>
                </a:lnTo>
                <a:lnTo>
                  <a:pt x="149090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65" y="29921"/>
                </a:lnTo>
                <a:lnTo>
                  <a:pt x="89801" y="32080"/>
                </a:lnTo>
                <a:lnTo>
                  <a:pt x="89852" y="39408"/>
                </a:lnTo>
                <a:lnTo>
                  <a:pt x="65417" y="39408"/>
                </a:lnTo>
                <a:lnTo>
                  <a:pt x="62115" y="40449"/>
                </a:lnTo>
                <a:lnTo>
                  <a:pt x="57403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32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51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47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18" y="28067"/>
                </a:lnTo>
                <a:lnTo>
                  <a:pt x="68325" y="27203"/>
                </a:lnTo>
                <a:lnTo>
                  <a:pt x="75298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203" y="69265"/>
                </a:lnTo>
                <a:lnTo>
                  <a:pt x="6756" y="69862"/>
                </a:lnTo>
                <a:lnTo>
                  <a:pt x="13970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77" y="62560"/>
                </a:lnTo>
                <a:lnTo>
                  <a:pt x="8762" y="62496"/>
                </a:lnTo>
                <a:lnTo>
                  <a:pt x="8762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62" y="30149"/>
                </a:lnTo>
                <a:lnTo>
                  <a:pt x="8762" y="7861"/>
                </a:lnTo>
                <a:lnTo>
                  <a:pt x="41389" y="7861"/>
                </a:lnTo>
                <a:lnTo>
                  <a:pt x="42202" y="596"/>
                </a:lnTo>
                <a:lnTo>
                  <a:pt x="35229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61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61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6" name="object 5">
            <a:extLst>
              <a:ext uri="{FF2B5EF4-FFF2-40B4-BE49-F238E27FC236}">
                <a16:creationId xmlns:a16="http://schemas.microsoft.com/office/drawing/2014/main" id="{9DA33786-2131-48ED-8738-5950FB556FA4}"/>
              </a:ext>
            </a:extLst>
          </p:cNvPr>
          <p:cNvSpPr/>
          <p:nvPr/>
        </p:nvSpPr>
        <p:spPr>
          <a:xfrm>
            <a:off x="977531" y="459328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52" y="103365"/>
                </a:lnTo>
                <a:lnTo>
                  <a:pt x="984504" y="105181"/>
                </a:lnTo>
                <a:lnTo>
                  <a:pt x="992517" y="105181"/>
                </a:lnTo>
                <a:lnTo>
                  <a:pt x="990206" y="110883"/>
                </a:lnTo>
                <a:lnTo>
                  <a:pt x="987107" y="114896"/>
                </a:lnTo>
                <a:lnTo>
                  <a:pt x="983195" y="117195"/>
                </a:lnTo>
                <a:lnTo>
                  <a:pt x="979398" y="119494"/>
                </a:lnTo>
                <a:lnTo>
                  <a:pt x="972934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40" y="127550"/>
                </a:lnTo>
                <a:lnTo>
                  <a:pt x="1004644" y="121813"/>
                </a:lnTo>
                <a:lnTo>
                  <a:pt x="1005484" y="120497"/>
                </a:lnTo>
                <a:lnTo>
                  <a:pt x="972934" y="120497"/>
                </a:lnTo>
                <a:lnTo>
                  <a:pt x="963815" y="120205"/>
                </a:lnTo>
                <a:lnTo>
                  <a:pt x="1005670" y="120205"/>
                </a:lnTo>
                <a:lnTo>
                  <a:pt x="1009179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21" y="90144"/>
                </a:lnTo>
                <a:lnTo>
                  <a:pt x="996327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34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60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712" y="133718"/>
                </a:lnTo>
                <a:lnTo>
                  <a:pt x="897712" y="115836"/>
                </a:lnTo>
                <a:lnTo>
                  <a:pt x="897691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712" y="87591"/>
                </a:lnTo>
                <a:lnTo>
                  <a:pt x="897712" y="53644"/>
                </a:lnTo>
                <a:lnTo>
                  <a:pt x="904913" y="48933"/>
                </a:lnTo>
                <a:lnTo>
                  <a:pt x="911034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60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4" y="103068"/>
                </a:lnTo>
                <a:lnTo>
                  <a:pt x="908335" y="105322"/>
                </a:lnTo>
                <a:lnTo>
                  <a:pt x="914864" y="106674"/>
                </a:lnTo>
                <a:lnTo>
                  <a:pt x="922045" y="107124"/>
                </a:lnTo>
                <a:lnTo>
                  <a:pt x="931773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612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93" y="105181"/>
                </a:lnTo>
                <a:lnTo>
                  <a:pt x="766213" y="105572"/>
                </a:lnTo>
                <a:lnTo>
                  <a:pt x="774511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64" y="106070"/>
                </a:lnTo>
                <a:lnTo>
                  <a:pt x="813473" y="104305"/>
                </a:lnTo>
                <a:lnTo>
                  <a:pt x="822693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8" y="70777"/>
                </a:lnTo>
                <a:lnTo>
                  <a:pt x="822591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8" y="70777"/>
                </a:moveTo>
                <a:lnTo>
                  <a:pt x="795642" y="70777"/>
                </a:lnTo>
                <a:lnTo>
                  <a:pt x="798728" y="71424"/>
                </a:lnTo>
                <a:lnTo>
                  <a:pt x="801827" y="74028"/>
                </a:lnTo>
                <a:lnTo>
                  <a:pt x="802614" y="76631"/>
                </a:lnTo>
                <a:lnTo>
                  <a:pt x="802614" y="84645"/>
                </a:lnTo>
                <a:lnTo>
                  <a:pt x="801827" y="87325"/>
                </a:lnTo>
                <a:lnTo>
                  <a:pt x="798728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8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50" y="126352"/>
                </a:lnTo>
                <a:lnTo>
                  <a:pt x="673849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80" y="70734"/>
                </a:lnTo>
                <a:lnTo>
                  <a:pt x="670138" y="80381"/>
                </a:lnTo>
                <a:lnTo>
                  <a:pt x="667092" y="89255"/>
                </a:lnTo>
                <a:lnTo>
                  <a:pt x="686625" y="89255"/>
                </a:lnTo>
                <a:lnTo>
                  <a:pt x="696290" y="48488"/>
                </a:lnTo>
                <a:lnTo>
                  <a:pt x="698792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41" y="31102"/>
                </a:lnTo>
                <a:lnTo>
                  <a:pt x="573341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34" y="106984"/>
                </a:lnTo>
                <a:lnTo>
                  <a:pt x="515690" y="106166"/>
                </a:lnTo>
                <a:lnTo>
                  <a:pt x="522892" y="103711"/>
                </a:lnTo>
                <a:lnTo>
                  <a:pt x="529439" y="99623"/>
                </a:lnTo>
                <a:lnTo>
                  <a:pt x="535330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30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15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68" y="28994"/>
                </a:lnTo>
                <a:lnTo>
                  <a:pt x="516527" y="29220"/>
                </a:lnTo>
                <a:lnTo>
                  <a:pt x="506999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56" y="47637"/>
                </a:lnTo>
                <a:lnTo>
                  <a:pt x="498570" y="47104"/>
                </a:lnTo>
                <a:lnTo>
                  <a:pt x="506815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80" y="39141"/>
                </a:lnTo>
                <a:lnTo>
                  <a:pt x="543267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6" y="82222"/>
                </a:lnTo>
                <a:lnTo>
                  <a:pt x="428955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63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52" y="133718"/>
                </a:lnTo>
                <a:lnTo>
                  <a:pt x="331152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30" y="99910"/>
                </a:lnTo>
                <a:lnTo>
                  <a:pt x="376961" y="98640"/>
                </a:lnTo>
                <a:lnTo>
                  <a:pt x="379987" y="93590"/>
                </a:lnTo>
                <a:lnTo>
                  <a:pt x="380959" y="90601"/>
                </a:lnTo>
                <a:lnTo>
                  <a:pt x="344563" y="90601"/>
                </a:lnTo>
                <a:lnTo>
                  <a:pt x="338963" y="89598"/>
                </a:lnTo>
                <a:lnTo>
                  <a:pt x="331152" y="87591"/>
                </a:lnTo>
                <a:lnTo>
                  <a:pt x="331152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75" y="46583"/>
                </a:lnTo>
                <a:lnTo>
                  <a:pt x="378562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30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64" y="104305"/>
                </a:lnTo>
                <a:lnTo>
                  <a:pt x="375930" y="99910"/>
                </a:lnTo>
                <a:close/>
              </a:path>
              <a:path w="1039494" h="136525">
                <a:moveTo>
                  <a:pt x="380375" y="46583"/>
                </a:moveTo>
                <a:lnTo>
                  <a:pt x="353783" y="46583"/>
                </a:lnTo>
                <a:lnTo>
                  <a:pt x="356781" y="48107"/>
                </a:lnTo>
                <a:lnTo>
                  <a:pt x="360197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21" y="83591"/>
                </a:lnTo>
                <a:lnTo>
                  <a:pt x="356412" y="89204"/>
                </a:lnTo>
                <a:lnTo>
                  <a:pt x="352971" y="90601"/>
                </a:lnTo>
                <a:lnTo>
                  <a:pt x="380959" y="90601"/>
                </a:lnTo>
                <a:lnTo>
                  <a:pt x="382150" y="86936"/>
                </a:lnTo>
                <a:lnTo>
                  <a:pt x="383449" y="78679"/>
                </a:lnTo>
                <a:lnTo>
                  <a:pt x="383882" y="68821"/>
                </a:lnTo>
                <a:lnTo>
                  <a:pt x="382275" y="51469"/>
                </a:lnTo>
                <a:lnTo>
                  <a:pt x="380375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52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62" y="41922"/>
                </a:lnTo>
                <a:lnTo>
                  <a:pt x="377455" y="39074"/>
                </a:lnTo>
                <a:lnTo>
                  <a:pt x="369422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26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26" y="133718"/>
                </a:lnTo>
                <a:lnTo>
                  <a:pt x="253326" y="106680"/>
                </a:lnTo>
                <a:lnTo>
                  <a:pt x="263363" y="105467"/>
                </a:lnTo>
                <a:lnTo>
                  <a:pt x="288522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14" y="45377"/>
                </a:lnTo>
                <a:lnTo>
                  <a:pt x="288236" y="44980"/>
                </a:lnTo>
                <a:lnTo>
                  <a:pt x="253326" y="29298"/>
                </a:lnTo>
                <a:lnTo>
                  <a:pt x="253326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14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27" y="54686"/>
                </a:lnTo>
                <a:lnTo>
                  <a:pt x="272249" y="60299"/>
                </a:lnTo>
                <a:lnTo>
                  <a:pt x="272249" y="76034"/>
                </a:lnTo>
                <a:lnTo>
                  <a:pt x="270827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22" y="90601"/>
                </a:lnTo>
                <a:lnTo>
                  <a:pt x="291125" y="84855"/>
                </a:lnTo>
                <a:lnTo>
                  <a:pt x="292856" y="77182"/>
                </a:lnTo>
                <a:lnTo>
                  <a:pt x="293433" y="68211"/>
                </a:lnTo>
                <a:lnTo>
                  <a:pt x="292856" y="59172"/>
                </a:lnTo>
                <a:lnTo>
                  <a:pt x="291125" y="51428"/>
                </a:lnTo>
                <a:lnTo>
                  <a:pt x="288414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38" y="31102"/>
                </a:lnTo>
                <a:lnTo>
                  <a:pt x="105638" y="105181"/>
                </a:lnTo>
                <a:lnTo>
                  <a:pt x="124561" y="105181"/>
                </a:lnTo>
                <a:lnTo>
                  <a:pt x="141243" y="81584"/>
                </a:lnTo>
                <a:lnTo>
                  <a:pt x="124561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43" y="81584"/>
                </a:lnTo>
                <a:lnTo>
                  <a:pt x="155105" y="61950"/>
                </a:lnTo>
                <a:lnTo>
                  <a:pt x="156972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403" y="1498"/>
                </a:lnTo>
                <a:lnTo>
                  <a:pt x="57403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7" name="object 27">
            <a:extLst>
              <a:ext uri="{FF2B5EF4-FFF2-40B4-BE49-F238E27FC236}">
                <a16:creationId xmlns:a16="http://schemas.microsoft.com/office/drawing/2014/main" id="{87138EBB-EE69-425C-BA60-274B07378CA4}"/>
              </a:ext>
            </a:extLst>
          </p:cNvPr>
          <p:cNvSpPr/>
          <p:nvPr/>
        </p:nvSpPr>
        <p:spPr>
          <a:xfrm>
            <a:off x="10466922" y="-5653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8" name="object 9">
            <a:extLst>
              <a:ext uri="{FF2B5EF4-FFF2-40B4-BE49-F238E27FC236}">
                <a16:creationId xmlns:a16="http://schemas.microsoft.com/office/drawing/2014/main" id="{21AD1BE3-5268-42C4-B92F-5BE8A5DADC2F}"/>
              </a:ext>
            </a:extLst>
          </p:cNvPr>
          <p:cNvSpPr/>
          <p:nvPr/>
        </p:nvSpPr>
        <p:spPr>
          <a:xfrm rot="5400000">
            <a:off x="686576" y="6261609"/>
            <a:ext cx="180340" cy="1030605"/>
          </a:xfrm>
          <a:custGeom>
            <a:avLst/>
            <a:gdLst/>
            <a:ahLst/>
            <a:cxnLst/>
            <a:rect l="l" t="t" r="r" b="b"/>
            <a:pathLst>
              <a:path w="180340" h="1030605">
                <a:moveTo>
                  <a:pt x="0" y="1030477"/>
                </a:moveTo>
                <a:lnTo>
                  <a:pt x="179997" y="1030477"/>
                </a:lnTo>
                <a:lnTo>
                  <a:pt x="179997" y="0"/>
                </a:lnTo>
                <a:lnTo>
                  <a:pt x="0" y="0"/>
                </a:lnTo>
                <a:lnTo>
                  <a:pt x="0" y="1030477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anose="020B0502020202020204" pitchFamily="34" charset="0"/>
            </a:endParaRPr>
          </a:p>
        </p:txBody>
      </p:sp>
      <p:sp>
        <p:nvSpPr>
          <p:cNvPr id="223" name="Прямоугольник 222">
            <a:extLst>
              <a:ext uri="{FF2B5EF4-FFF2-40B4-BE49-F238E27FC236}">
                <a16:creationId xmlns:a16="http://schemas.microsoft.com/office/drawing/2014/main" id="{3352DD45-04AA-4CB3-8FB4-FE889E441360}"/>
              </a:ext>
            </a:extLst>
          </p:cNvPr>
          <p:cNvSpPr/>
          <p:nvPr/>
        </p:nvSpPr>
        <p:spPr>
          <a:xfrm>
            <a:off x="1752600" y="1981200"/>
            <a:ext cx="16764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БІР ДЕРЕК КӨЗІНЕН АЛУ</a:t>
            </a: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r>
              <a:rPr lang="ru-RU" sz="4000" b="1" dirty="0">
                <a:solidFill>
                  <a:srgbClr val="FF000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1</a:t>
            </a:r>
            <a:r>
              <a:rPr lang="en-US" sz="4000" b="1" dirty="0">
                <a:solidFill>
                  <a:srgbClr val="FF000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2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5C466634-6375-4E68-B2B9-2C407C40FE5E}"/>
              </a:ext>
            </a:extLst>
          </p:cNvPr>
          <p:cNvSpPr/>
          <p:nvPr/>
        </p:nvSpPr>
        <p:spPr>
          <a:xfrm>
            <a:off x="3657600" y="1981200"/>
            <a:ext cx="21336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АШЫҚ</a:t>
            </a:r>
          </a:p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КОНКУРС</a:t>
            </a: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FF000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26</a:t>
            </a:r>
            <a:endParaRPr lang="ru-RU" sz="4000" b="1" dirty="0">
              <a:solidFill>
                <a:srgbClr val="FF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Прямоугольник 224">
            <a:extLst>
              <a:ext uri="{FF2B5EF4-FFF2-40B4-BE49-F238E27FC236}">
                <a16:creationId xmlns:a16="http://schemas.microsoft.com/office/drawing/2014/main" id="{61DCEAFC-6633-4A75-80D7-7480D82F980F}"/>
              </a:ext>
            </a:extLst>
          </p:cNvPr>
          <p:cNvSpPr/>
          <p:nvPr/>
        </p:nvSpPr>
        <p:spPr>
          <a:xfrm>
            <a:off x="5562600" y="1890019"/>
            <a:ext cx="3048000" cy="1422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СҰРАУ</a:t>
            </a:r>
          </a:p>
          <a:p>
            <a:pPr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БАҒАЛЫҚ</a:t>
            </a:r>
          </a:p>
          <a:p>
            <a:pPr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ҰСЫНЫСТАР</a:t>
            </a:r>
          </a:p>
          <a:p>
            <a:pPr>
              <a:lnSpc>
                <a:spcPts val="2000"/>
              </a:lnSpc>
              <a:defRPr/>
            </a:pPr>
            <a:endParaRPr lang="ru-RU" sz="5400" b="1" dirty="0">
              <a:solidFill>
                <a:srgbClr val="00B05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FF000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16</a:t>
            </a:r>
            <a:r>
              <a:rPr lang="ru-RU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8" name="Shape 2925"/>
          <p:cNvSpPr/>
          <p:nvPr/>
        </p:nvSpPr>
        <p:spPr>
          <a:xfrm>
            <a:off x="990600" y="3276600"/>
            <a:ext cx="11201400" cy="1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61DCEAFC-6633-4A75-80D7-7480D82F980F}"/>
              </a:ext>
            </a:extLst>
          </p:cNvPr>
          <p:cNvSpPr/>
          <p:nvPr/>
        </p:nvSpPr>
        <p:spPr>
          <a:xfrm>
            <a:off x="8077200" y="1981200"/>
            <a:ext cx="4114800" cy="1165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КОНКУРС  </a:t>
            </a:r>
          </a:p>
          <a:p>
            <a:pPr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БІЛІКТІЛІК ІРІКТЕУ КОНКУРСЫ</a:t>
            </a:r>
          </a:p>
          <a:p>
            <a:pPr>
              <a:lnSpc>
                <a:spcPts val="2000"/>
              </a:lnSpc>
              <a:defRPr/>
            </a:pPr>
            <a:endParaRPr lang="ru-RU" sz="5400" b="1" dirty="0">
              <a:solidFill>
                <a:srgbClr val="00B05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FF000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11</a:t>
            </a:r>
            <a:r>
              <a:rPr lang="ru-RU" sz="4000" b="1" dirty="0">
                <a:solidFill>
                  <a:srgbClr val="00B05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3352DD45-04AA-4CB3-8FB4-FE889E441360}"/>
              </a:ext>
            </a:extLst>
          </p:cNvPr>
          <p:cNvSpPr/>
          <p:nvPr/>
        </p:nvSpPr>
        <p:spPr>
          <a:xfrm>
            <a:off x="1828800" y="3733800"/>
            <a:ext cx="18288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sz="2400" b="1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Шарт</a:t>
            </a:r>
            <a:endParaRPr lang="ru-RU" sz="2400" b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r>
              <a:rPr lang="ru-RU" sz="2400" b="1" dirty="0" err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Жасалды</a:t>
            </a:r>
            <a:endParaRPr lang="ru-RU" sz="2400" b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0070C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55</a:t>
            </a:r>
            <a:endParaRPr lang="ru-RU" b="1" dirty="0">
              <a:solidFill>
                <a:srgbClr val="0070C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3352DD45-04AA-4CB3-8FB4-FE889E441360}"/>
              </a:ext>
            </a:extLst>
          </p:cNvPr>
          <p:cNvSpPr/>
          <p:nvPr/>
        </p:nvSpPr>
        <p:spPr>
          <a:xfrm>
            <a:off x="6096000" y="3733800"/>
            <a:ext cx="19812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СОТҚА ЖІБЕРІЛДІ</a:t>
            </a: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0070C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3</a:t>
            </a:r>
            <a:endParaRPr lang="ru-RU" b="1" dirty="0">
              <a:solidFill>
                <a:srgbClr val="0070C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2924"/>
          <p:cNvSpPr txBox="1">
            <a:spLocks/>
          </p:cNvSpPr>
          <p:nvPr/>
        </p:nvSpPr>
        <p:spPr>
          <a:xfrm>
            <a:off x="426156" y="3276600"/>
            <a:ext cx="11765844" cy="880954"/>
          </a:xfrm>
          <a:prstGeom prst="rect">
            <a:avLst/>
          </a:prstGeom>
        </p:spPr>
        <p:txBody>
          <a:bodyPr wrap="square" lIns="0" tIns="0" rIns="0" bIns="0">
            <a:normAutofit fontScale="52500" lnSpcReduction="20000"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</a:br>
            <a:r>
              <a:rPr kumimoji="0" lang="ru-RU" sz="3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  <a:t>2.2 ШАРТТАР </a:t>
            </a: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</a:b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Noto Sans" panose="020B0502040504020204" pitchFamily="34"/>
                <a:cs typeface="Noto Sans" panose="020B0502040504020204" pitchFamily="34"/>
              </a:rPr>
            </a:br>
            <a:br>
              <a:rPr kumimoji="0" lang="ru-RU" sz="2500" b="1" i="0" u="none" strike="noStrike" kern="0" cap="none" spc="0" normalizeH="0" baseline="0" noProof="0" dirty="0">
                <a:ln>
                  <a:noFill/>
                </a:ln>
                <a:solidFill>
                  <a:srgbClr val="2C4467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Tahoma"/>
              </a:rPr>
            </a:br>
            <a:endParaRPr kumimoji="0" lang="ru-RU" sz="2500" b="1" i="0" u="none" strike="noStrike" kern="0" cap="none" spc="0" normalizeH="0" baseline="0" noProof="0" dirty="0">
              <a:ln>
                <a:noFill/>
              </a:ln>
              <a:solidFill>
                <a:srgbClr val="2C4467"/>
              </a:solidFill>
              <a:effectLst/>
              <a:uLnTx/>
              <a:uFillTx/>
              <a:latin typeface="Century Gothic" panose="020B0502020202020204" pitchFamily="34" charset="0"/>
              <a:ea typeface="+mj-ea"/>
              <a:cs typeface="Tahoma"/>
            </a:endParaRPr>
          </a:p>
        </p:txBody>
      </p:sp>
      <p:sp>
        <p:nvSpPr>
          <p:cNvPr id="31" name="Shape 2925"/>
          <p:cNvSpPr/>
          <p:nvPr/>
        </p:nvSpPr>
        <p:spPr>
          <a:xfrm>
            <a:off x="426155" y="3733800"/>
            <a:ext cx="11765845" cy="1"/>
          </a:xfrm>
          <a:prstGeom prst="line">
            <a:avLst/>
          </a:prstGeom>
          <a:ln>
            <a:solidFill>
              <a:srgbClr val="BFBFBF"/>
            </a:solidFill>
          </a:ln>
        </p:spPr>
        <p:txBody>
          <a:bodyPr lIns="45719" rIns="45719"/>
          <a:lstStyle/>
          <a:p>
            <a:endParaRPr dirty="0">
              <a:latin typeface="Century Gothic" panose="020B0502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3352DD45-04AA-4CB3-8FB4-FE889E441360}"/>
              </a:ext>
            </a:extLst>
          </p:cNvPr>
          <p:cNvSpPr/>
          <p:nvPr/>
        </p:nvSpPr>
        <p:spPr>
          <a:xfrm>
            <a:off x="3886200" y="3733800"/>
            <a:ext cx="2133600" cy="13561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defRPr/>
            </a:pPr>
            <a:r>
              <a:rPr lang="ru-RU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ШЕТЕЛДІК ШАРТТАР</a:t>
            </a:r>
          </a:p>
          <a:p>
            <a:pPr algn="just">
              <a:lnSpc>
                <a:spcPts val="2000"/>
              </a:lnSpc>
              <a:defRPr/>
            </a:pPr>
            <a:endParaRPr lang="ru-RU" sz="5400" b="1" dirty="0">
              <a:solidFill>
                <a:srgbClr val="C0000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>
              <a:lnSpc>
                <a:spcPts val="2000"/>
              </a:lnSpc>
              <a:defRPr/>
            </a:pPr>
            <a:r>
              <a:rPr lang="en-US" sz="4000" b="1" dirty="0">
                <a:solidFill>
                  <a:srgbClr val="0070C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1</a:t>
            </a:r>
            <a:endParaRPr lang="ru-RU" b="1" dirty="0">
              <a:solidFill>
                <a:srgbClr val="0070C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  <a:p>
            <a:pPr algn="just">
              <a:lnSpc>
                <a:spcPts val="2000"/>
              </a:lnSpc>
              <a:defRPr/>
            </a:pPr>
            <a:endParaRPr lang="ru-RU" sz="1600" i="1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Рисунок 32" descr="Изображение выглядит как текст, векторная графика&#10;&#10;Автоматически созданное описание">
            <a:extLst>
              <a:ext uri="{FF2B5EF4-FFF2-40B4-BE49-F238E27FC236}">
                <a16:creationId xmlns:a16="http://schemas.microsoft.com/office/drawing/2014/main" id="{AC70915F-3796-4894-BEE8-3933527F53A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2600" y="3581400"/>
            <a:ext cx="2568733" cy="2838450"/>
          </a:xfrm>
          <a:prstGeom prst="rect">
            <a:avLst/>
          </a:prstGeom>
        </p:spPr>
      </p:pic>
      <p:sp>
        <p:nvSpPr>
          <p:cNvPr id="34" name="Rectangle 7"/>
          <p:cNvSpPr>
            <a:spLocks noChangeArrowheads="1"/>
          </p:cNvSpPr>
          <p:nvPr/>
        </p:nvSpPr>
        <p:spPr bwMode="auto">
          <a:xfrm>
            <a:off x="1676400" y="4995952"/>
            <a:ext cx="8229600" cy="1692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2000" b="1" dirty="0">
                <a:latin typeface="Century Gothic" panose="020B0502020202020204" pitchFamily="34" charset="0"/>
                <a:cs typeface="Arial" pitchFamily="34" charset="0"/>
              </a:rPr>
              <a:t>ЕСКЕРТУ:</a:t>
            </a:r>
          </a:p>
          <a:p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оғарыда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көрсетілген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деректер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мемлекеттік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атып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л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порталында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7 ай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ұмыс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нәтижелері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.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Цифрландыр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басқармасындағ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мемлекеттік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атып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л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«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Мемлекеттік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атып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л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турал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»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Қазақстан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Республикас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Заңының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әне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Мемлекеттік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атып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луд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үзеге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сыр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қағидаларының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талаптарына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қатаң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әйкестікте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үргізіледі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. Осы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кезеңде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қадағала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әне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бақылауш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органдардың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мемлекеттік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атып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л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саласындағ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заңнаманы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бұзу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фактілері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анықталған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ru-RU" sz="1400" dirty="0" err="1">
                <a:latin typeface="Century Gothic" panose="020B0502020202020204" pitchFamily="34" charset="0"/>
                <a:cs typeface="Arial" pitchFamily="34" charset="0"/>
              </a:rPr>
              <a:t>жоқ</a:t>
            </a:r>
            <a:r>
              <a:rPr lang="ru-RU" sz="1400" dirty="0">
                <a:latin typeface="Century Gothic" panose="020B0502020202020204" pitchFamily="34" charset="0"/>
                <a:cs typeface="Arial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21640808"/>
      </p:ext>
    </p:extLst>
  </p:cSld>
  <p:clrMapOvr>
    <a:masterClrMapping/>
  </p:clrMapOvr>
  <p:transition spd="slow"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Прямоугольник 113"/>
          <p:cNvSpPr/>
          <p:nvPr/>
        </p:nvSpPr>
        <p:spPr>
          <a:xfrm>
            <a:off x="213078" y="218552"/>
            <a:ext cx="11765844" cy="6450308"/>
          </a:xfrm>
          <a:prstGeom prst="rect">
            <a:avLst/>
          </a:prstGeom>
          <a:solidFill>
            <a:srgbClr val="1F385D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bject 6"/>
          <p:cNvSpPr txBox="1">
            <a:spLocks noGrp="1"/>
          </p:cNvSpPr>
          <p:nvPr>
            <p:ph type="title"/>
          </p:nvPr>
        </p:nvSpPr>
        <p:spPr>
          <a:xfrm>
            <a:off x="179832" y="3048000"/>
            <a:ext cx="11832171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0"/>
              </a:spcBef>
            </a:pPr>
            <a:r>
              <a:rPr lang="ru-RU" sz="2800" spc="20" dirty="0" err="1">
                <a:latin typeface="Century Gothic" pitchFamily="34" charset="0"/>
              </a:rPr>
              <a:t>Назарларыңызға</a:t>
            </a:r>
            <a:r>
              <a:rPr lang="ru-RU" sz="2800" spc="20" dirty="0">
                <a:latin typeface="Century Gothic" pitchFamily="34" charset="0"/>
              </a:rPr>
              <a:t> </a:t>
            </a:r>
            <a:r>
              <a:rPr lang="ru-RU" sz="2800" spc="20" dirty="0" err="1">
                <a:latin typeface="Century Gothic" pitchFamily="34" charset="0"/>
              </a:rPr>
              <a:t>рақмет</a:t>
            </a:r>
            <a:r>
              <a:rPr lang="en-US" sz="2800" spc="20" dirty="0">
                <a:latin typeface="Century Gothic" pitchFamily="34" charset="0"/>
              </a:rPr>
              <a:t>!</a:t>
            </a:r>
            <a:endParaRPr lang="ru-RU" sz="2800" spc="20" dirty="0">
              <a:latin typeface="Century Gothic" pitchFamily="34" charset="0"/>
            </a:endParaRPr>
          </a:p>
        </p:txBody>
      </p:sp>
      <p:grpSp>
        <p:nvGrpSpPr>
          <p:cNvPr id="90" name="Группа 89"/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91" name="Группа 90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97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8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94" name="Группа 93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95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6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grpSp>
        <p:nvGrpSpPr>
          <p:cNvPr id="116" name="Группа 115"/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117" name="Группа 116"/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139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40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118" name="Группа 117"/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120" name="object 48"/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24" name="object 48"/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21486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F0FC94C-6578-4965-A466-203FF80A8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cs typeface="Arial Black" panose="020B0604020202020204" pitchFamily="34" charset="0"/>
              </a:rPr>
              <a:t>NBK Data Factory </a:t>
            </a:r>
            <a:r>
              <a:rPr lang="ru-RU" dirty="0" err="1">
                <a:cs typeface="Arial Black" panose="020B0604020202020204" pitchFamily="34" charset="0"/>
              </a:rPr>
              <a:t>шолуы</a:t>
            </a:r>
            <a:endParaRPr lang="ru-KZ" dirty="0">
              <a:cs typeface="Arial Black" panose="020B0604020202020204" pitchFamily="34" charset="0"/>
            </a:endParaRP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9DE570F-33F5-4D0E-925D-367153B9681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ru-RU" dirty="0"/>
              <a:t>2</a:t>
            </a:r>
            <a:endParaRPr lang="en-GB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86F08B9-DA78-4021-A6B7-825CF95508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5371" y="1316038"/>
            <a:ext cx="472830" cy="48142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B186DB2-6DAE-4BE3-919E-2B4392EB22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5371" y="2165431"/>
            <a:ext cx="561101" cy="5697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2D64724-DF8F-844F-A0F2-F0E5BD4508F0}"/>
              </a:ext>
            </a:extLst>
          </p:cNvPr>
          <p:cNvSpPr txBox="1"/>
          <p:nvPr/>
        </p:nvSpPr>
        <p:spPr>
          <a:xfrm>
            <a:off x="1066800" y="1244491"/>
            <a:ext cx="10425986" cy="16004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Aft>
                <a:spcPts val="2400"/>
              </a:spcAft>
              <a:buClr>
                <a:srgbClr val="00A99D"/>
              </a:buClr>
            </a:pPr>
            <a:r>
              <a:rPr lang="en-US" sz="1400" b="1" dirty="0" err="1">
                <a:solidFill>
                  <a:srgbClr val="238D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tech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жырымдамасы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Analysis Technology)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алық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ллекттің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ық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арын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ясатты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намасын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імдер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рін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ыт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кен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2400"/>
              </a:spcAft>
              <a:buClr>
                <a:srgbClr val="00A99D"/>
              </a:buClr>
            </a:pPr>
            <a:r>
              <a:rPr lang="en-US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BK Data Factory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шатыр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сы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да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ңғайлы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изуализация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вигация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ибридті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мада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атын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тқы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дерімен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г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ҰБ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і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інд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алық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истикалық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ды</a:t>
            </a:r>
            <a:r>
              <a:rPr lang="ru-RU" sz="1400" b="1" dirty="0">
                <a:solidFill>
                  <a:srgbClr val="2E8B9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ды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дейді</a:t>
            </a:r>
            <a:endParaRPr lang="ru-RU" sz="1400" dirty="0">
              <a:solidFill>
                <a:srgbClr val="00A99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23">
            <a:extLst>
              <a:ext uri="{FF2B5EF4-FFF2-40B4-BE49-F238E27FC236}">
                <a16:creationId xmlns:a16="http://schemas.microsoft.com/office/drawing/2014/main" id="{577A8B62-D3FD-2E47-B5FF-7E7CE1FB44B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4862" y="3150534"/>
            <a:ext cx="2111357" cy="1833937"/>
          </a:xfrm>
          <a:prstGeom prst="rect">
            <a:avLst/>
          </a:prstGeom>
        </p:spPr>
      </p:pic>
      <p:pic>
        <p:nvPicPr>
          <p:cNvPr id="16" name="Рисунок 24">
            <a:extLst>
              <a:ext uri="{FF2B5EF4-FFF2-40B4-BE49-F238E27FC236}">
                <a16:creationId xmlns:a16="http://schemas.microsoft.com/office/drawing/2014/main" id="{0E3D604E-3262-D343-A004-2BAC7049F65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98"/>
          <a:stretch/>
        </p:blipFill>
        <p:spPr>
          <a:xfrm>
            <a:off x="2610306" y="3156427"/>
            <a:ext cx="2688463" cy="1838041"/>
          </a:xfrm>
          <a:prstGeom prst="rect">
            <a:avLst/>
          </a:prstGeom>
        </p:spPr>
      </p:pic>
      <p:pic>
        <p:nvPicPr>
          <p:cNvPr id="18" name="Рисунок 25">
            <a:extLst>
              <a:ext uri="{FF2B5EF4-FFF2-40B4-BE49-F238E27FC236}">
                <a16:creationId xmlns:a16="http://schemas.microsoft.com/office/drawing/2014/main" id="{40235AC1-68EC-E848-BB5B-98165867D6D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478" t="2986" r="3826" b="3893"/>
          <a:stretch/>
        </p:blipFill>
        <p:spPr>
          <a:xfrm>
            <a:off x="9402561" y="3144134"/>
            <a:ext cx="2090225" cy="1857344"/>
          </a:xfrm>
          <a:prstGeom prst="rect">
            <a:avLst/>
          </a:prstGeom>
        </p:spPr>
      </p:pic>
      <p:pic>
        <p:nvPicPr>
          <p:cNvPr id="19" name="Рисунок 26">
            <a:extLst>
              <a:ext uri="{FF2B5EF4-FFF2-40B4-BE49-F238E27FC236}">
                <a16:creationId xmlns:a16="http://schemas.microsoft.com/office/drawing/2014/main" id="{A3BDEC01-AC55-E24F-95DD-7C8FB4C748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92856" y="3162633"/>
            <a:ext cx="3915618" cy="1838845"/>
          </a:xfrm>
          <a:prstGeom prst="rect">
            <a:avLst/>
          </a:prstGeom>
        </p:spPr>
      </p:pic>
      <p:sp>
        <p:nvSpPr>
          <p:cNvPr id="20" name="Прямоугольник 27">
            <a:extLst>
              <a:ext uri="{FF2B5EF4-FFF2-40B4-BE49-F238E27FC236}">
                <a16:creationId xmlns:a16="http://schemas.microsoft.com/office/drawing/2014/main" id="{B7FAF1C4-0C5F-5842-8C05-DDCBFE959238}"/>
              </a:ext>
            </a:extLst>
          </p:cNvPr>
          <p:cNvSpPr/>
          <p:nvPr/>
        </p:nvSpPr>
        <p:spPr>
          <a:xfrm>
            <a:off x="365371" y="5285362"/>
            <a:ext cx="11127415" cy="1124383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C6181F-27BE-FB42-BE3E-5A9470C2BA7F}"/>
              </a:ext>
            </a:extLst>
          </p:cNvPr>
          <p:cNvSpPr txBox="1"/>
          <p:nvPr/>
        </p:nvSpPr>
        <p:spPr>
          <a:xfrm>
            <a:off x="549765" y="5437379"/>
            <a:ext cx="1072521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түрлі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ларда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шімдер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уд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у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ылуы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тистика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росынан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пен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ытылған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лиринг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ма-қол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сыз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закцияларды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лерінен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егей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ге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е</a:t>
            </a:r>
            <a:endParaRPr lang="ru-KZ" sz="16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 descr="Shape&#10;&#10;Description automatically generated with low confidence">
            <a:extLst>
              <a:ext uri="{FF2B5EF4-FFF2-40B4-BE49-F238E27FC236}">
                <a16:creationId xmlns:a16="http://schemas.microsoft.com/office/drawing/2014/main" id="{DAD613CA-CB3D-764B-9A62-42A86FAB2BD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2786" y="8368"/>
            <a:ext cx="480448" cy="654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86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Google Shape;193;p26"/>
          <p:cNvSpPr txBox="1"/>
          <p:nvPr/>
        </p:nvSpPr>
        <p:spPr>
          <a:xfrm>
            <a:off x="2648529" y="254744"/>
            <a:ext cx="6180900" cy="57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95" name="Google Shape;195;p26"/>
          <p:cNvPicPr preferRelativeResize="0"/>
          <p:nvPr/>
        </p:nvPicPr>
        <p:blipFill rotWithShape="1">
          <a:blip r:embed="rId3">
            <a:alphaModFix/>
          </a:blip>
          <a:srcRect t="61579" r="14602"/>
          <a:stretch/>
        </p:blipFill>
        <p:spPr>
          <a:xfrm>
            <a:off x="5976043" y="959488"/>
            <a:ext cx="2597445" cy="798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6" name="Google Shape;196;p26"/>
          <p:cNvSpPr txBox="1"/>
          <p:nvPr/>
        </p:nvSpPr>
        <p:spPr>
          <a:xfrm>
            <a:off x="140518" y="975613"/>
            <a:ext cx="5371804" cy="2385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just"/>
            <a:r>
              <a:rPr lang="en-US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«</a:t>
            </a:r>
            <a:r>
              <a:rPr lang="en-US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AlmaU</a:t>
            </a:r>
            <a:r>
              <a:rPr lang="en-US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» 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урбанистика </a:t>
            </a:r>
            <a:r>
              <a:rPr lang="ru-RU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орталығының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туденттері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лматы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асының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цифрландыру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асқармасымен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әне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Frontier.kz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компаниямен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ірлесіп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лматы </a:t>
            </a:r>
            <a:r>
              <a:rPr lang="ru-RU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асының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удандарына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алдау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үргізілді</a:t>
            </a:r>
            <a:r>
              <a:rPr lang="ru-RU" sz="13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:</a:t>
            </a:r>
          </a:p>
          <a:p>
            <a:pPr marL="457200" lvl="0" indent="-317500" algn="just">
              <a:buClr>
                <a:srgbClr val="13447E"/>
              </a:buClr>
              <a:buSzPts val="1400"/>
              <a:buChar char="●"/>
            </a:pP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аяу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үргіншілер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ұтқырлығының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кедергілерін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нықтау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;</a:t>
            </a:r>
            <a:endParaRPr sz="13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457200" lvl="0" indent="-317500" algn="just">
              <a:buClr>
                <a:srgbClr val="13447E"/>
              </a:buClr>
              <a:buSzPts val="1400"/>
              <a:buChar char="●"/>
            </a:pP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удандардың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коммерциялық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ыйымдылығын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нықтау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;</a:t>
            </a:r>
            <a:endParaRPr sz="13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457200" lvl="0" indent="-317500" algn="just">
              <a:buClr>
                <a:srgbClr val="13447E"/>
              </a:buClr>
              <a:buSzPts val="1400"/>
              <a:buChar char="●"/>
            </a:pP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оғамдық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көліктің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олжетімділігі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;</a:t>
            </a:r>
            <a:endParaRPr sz="13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457200" lvl="0" indent="-317500" algn="just">
              <a:buClr>
                <a:srgbClr val="13447E"/>
              </a:buClr>
              <a:buSzPts val="1400"/>
              <a:buChar char="●"/>
            </a:pP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удандардағы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ұрылыстың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егізгі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морфотиптерін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нықтау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.</a:t>
            </a:r>
            <a:endParaRPr sz="13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lvl="0" algn="just"/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Зерттеу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әтижелері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14.04.2022 ж. "</a:t>
            </a:r>
            <a:r>
              <a:rPr lang="en-US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Urban Data"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шық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дәрісінде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ондай-ақ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остандық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уданы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әкімінің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аппаратына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3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ұсынылды</a:t>
            </a:r>
            <a:r>
              <a:rPr lang="ru-RU" sz="13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.</a:t>
            </a:r>
            <a:endParaRPr sz="13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98" name="Google Shape;198;p26"/>
          <p:cNvPicPr preferRelativeResize="0"/>
          <p:nvPr/>
        </p:nvPicPr>
        <p:blipFill rotWithShape="1">
          <a:blip r:embed="rId4">
            <a:alphaModFix/>
          </a:blip>
          <a:srcRect l="7254" t="7086" r="4709" b="4877"/>
          <a:stretch/>
        </p:blipFill>
        <p:spPr>
          <a:xfrm>
            <a:off x="465692" y="3702976"/>
            <a:ext cx="2368563" cy="30459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99" name="Google Shape;199;p26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047128" y="3708078"/>
            <a:ext cx="2368563" cy="304592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B69FFFA5-77E6-428A-E957-1E972F7B9E1F}"/>
              </a:ext>
            </a:extLst>
          </p:cNvPr>
          <p:cNvCxnSpPr>
            <a:cxnSpLocks/>
          </p:cNvCxnSpPr>
          <p:nvPr/>
        </p:nvCxnSpPr>
        <p:spPr>
          <a:xfrm>
            <a:off x="5635926" y="996900"/>
            <a:ext cx="0" cy="58090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oogle Shape;224;p27">
            <a:extLst>
              <a:ext uri="{FF2B5EF4-FFF2-40B4-BE49-F238E27FC236}">
                <a16:creationId xmlns:a16="http://schemas.microsoft.com/office/drawing/2014/main" id="{35342DBD-87EC-EFA5-40CC-1E0F6AA40933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13580" t="7964" r="23578" b="3937"/>
          <a:stretch/>
        </p:blipFill>
        <p:spPr>
          <a:xfrm>
            <a:off x="10602850" y="638977"/>
            <a:ext cx="680673" cy="757207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Google Shape;225;p27">
            <a:extLst>
              <a:ext uri="{FF2B5EF4-FFF2-40B4-BE49-F238E27FC236}">
                <a16:creationId xmlns:a16="http://schemas.microsoft.com/office/drawing/2014/main" id="{D4C7D52D-B7F4-0E9A-9DE4-D7D5B9C1A5B2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63848" b="26035"/>
          <a:stretch/>
        </p:blipFill>
        <p:spPr>
          <a:xfrm>
            <a:off x="9362063" y="640166"/>
            <a:ext cx="612695" cy="757207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226;p27">
            <a:extLst>
              <a:ext uri="{FF2B5EF4-FFF2-40B4-BE49-F238E27FC236}">
                <a16:creationId xmlns:a16="http://schemas.microsoft.com/office/drawing/2014/main" id="{AB2EE5C2-9650-C240-4EB2-DDFD8F111326}"/>
              </a:ext>
            </a:extLst>
          </p:cNvPr>
          <p:cNvSpPr txBox="1"/>
          <p:nvPr/>
        </p:nvSpPr>
        <p:spPr>
          <a:xfrm flipH="1">
            <a:off x="8585576" y="1095225"/>
            <a:ext cx="564969" cy="677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200" b="1" dirty="0">
                <a:solidFill>
                  <a:srgbClr val="13447E"/>
                </a:solidFill>
              </a:rPr>
              <a:t>+</a:t>
            </a:r>
            <a:endParaRPr sz="3200" b="1" dirty="0">
              <a:solidFill>
                <a:srgbClr val="13447E"/>
              </a:solidFill>
            </a:endParaRPr>
          </a:p>
        </p:txBody>
      </p:sp>
      <p:sp>
        <p:nvSpPr>
          <p:cNvPr id="34" name="Google Shape;227;p27">
            <a:extLst>
              <a:ext uri="{FF2B5EF4-FFF2-40B4-BE49-F238E27FC236}">
                <a16:creationId xmlns:a16="http://schemas.microsoft.com/office/drawing/2014/main" id="{04E36B14-1D9C-0EA1-7B32-B8E0C7D390A8}"/>
              </a:ext>
            </a:extLst>
          </p:cNvPr>
          <p:cNvSpPr txBox="1"/>
          <p:nvPr/>
        </p:nvSpPr>
        <p:spPr>
          <a:xfrm>
            <a:off x="9025915" y="1307195"/>
            <a:ext cx="1211246" cy="523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ctr"/>
            <a:r>
              <a:rPr lang="ru-RU" sz="1050" b="1" dirty="0">
                <a:solidFill>
                  <a:srgbClr val="13447E"/>
                </a:solidFill>
              </a:rPr>
              <a:t>Урбанистика </a:t>
            </a:r>
            <a:r>
              <a:rPr lang="ru-RU" sz="1050" b="1" dirty="0" err="1">
                <a:solidFill>
                  <a:srgbClr val="13447E"/>
                </a:solidFill>
              </a:rPr>
              <a:t>орталығы</a:t>
            </a:r>
            <a:endParaRPr sz="1050" b="1" dirty="0">
              <a:solidFill>
                <a:srgbClr val="13447E"/>
              </a:solidFill>
            </a:endParaRPr>
          </a:p>
        </p:txBody>
      </p:sp>
      <p:sp>
        <p:nvSpPr>
          <p:cNvPr id="35" name="Google Shape;228;p27">
            <a:extLst>
              <a:ext uri="{FF2B5EF4-FFF2-40B4-BE49-F238E27FC236}">
                <a16:creationId xmlns:a16="http://schemas.microsoft.com/office/drawing/2014/main" id="{81675B77-9992-948B-23DA-DC7D2CCD602E}"/>
              </a:ext>
            </a:extLst>
          </p:cNvPr>
          <p:cNvSpPr txBox="1"/>
          <p:nvPr/>
        </p:nvSpPr>
        <p:spPr>
          <a:xfrm>
            <a:off x="10355641" y="1314955"/>
            <a:ext cx="1286524" cy="6924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ctr"/>
            <a:r>
              <a:rPr lang="ru-RU" sz="1050" b="1" dirty="0" err="1">
                <a:solidFill>
                  <a:srgbClr val="13447E"/>
                </a:solidFill>
              </a:rPr>
              <a:t>Сандық</a:t>
            </a:r>
            <a:r>
              <a:rPr lang="ru-RU" sz="1050" b="1" dirty="0">
                <a:solidFill>
                  <a:srgbClr val="13447E"/>
                </a:solidFill>
              </a:rPr>
              <a:t> </a:t>
            </a:r>
            <a:r>
              <a:rPr lang="ru-RU" sz="1050" b="1" dirty="0" err="1">
                <a:solidFill>
                  <a:srgbClr val="13447E"/>
                </a:solidFill>
              </a:rPr>
              <a:t>технологиялар</a:t>
            </a:r>
            <a:r>
              <a:rPr lang="ru-RU" sz="1050" b="1" dirty="0">
                <a:solidFill>
                  <a:srgbClr val="13447E"/>
                </a:solidFill>
              </a:rPr>
              <a:t> </a:t>
            </a:r>
            <a:r>
              <a:rPr lang="ru-RU" sz="1050" b="1" dirty="0" err="1">
                <a:solidFill>
                  <a:srgbClr val="13447E"/>
                </a:solidFill>
              </a:rPr>
              <a:t>мектебі</a:t>
            </a:r>
            <a:endParaRPr sz="1050" b="1" dirty="0">
              <a:solidFill>
                <a:srgbClr val="13447E"/>
              </a:solidFill>
            </a:endParaRPr>
          </a:p>
        </p:txBody>
      </p:sp>
      <p:sp>
        <p:nvSpPr>
          <p:cNvPr id="36" name="Google Shape;226;p27">
            <a:extLst>
              <a:ext uri="{FF2B5EF4-FFF2-40B4-BE49-F238E27FC236}">
                <a16:creationId xmlns:a16="http://schemas.microsoft.com/office/drawing/2014/main" id="{5E0618AB-8E3E-F913-B947-0085F17865D0}"/>
              </a:ext>
            </a:extLst>
          </p:cNvPr>
          <p:cNvSpPr txBox="1"/>
          <p:nvPr/>
        </p:nvSpPr>
        <p:spPr>
          <a:xfrm>
            <a:off x="9995806" y="1125246"/>
            <a:ext cx="680673" cy="6770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200" b="1" dirty="0">
                <a:solidFill>
                  <a:srgbClr val="13447E"/>
                </a:solidFill>
              </a:rPr>
              <a:t>+</a:t>
            </a:r>
            <a:endParaRPr sz="3200" b="1" dirty="0">
              <a:solidFill>
                <a:srgbClr val="13447E"/>
              </a:solidFill>
            </a:endParaRPr>
          </a:p>
        </p:txBody>
      </p:sp>
      <p:cxnSp>
        <p:nvCxnSpPr>
          <p:cNvPr id="41" name="Прямая со стрелкой 40">
            <a:extLst>
              <a:ext uri="{FF2B5EF4-FFF2-40B4-BE49-F238E27FC236}">
                <a16:creationId xmlns:a16="http://schemas.microsoft.com/office/drawing/2014/main" id="{2B32AC32-CA00-41A8-1C9B-0F6D5CD8B831}"/>
              </a:ext>
            </a:extLst>
          </p:cNvPr>
          <p:cNvCxnSpPr>
            <a:cxnSpLocks/>
          </p:cNvCxnSpPr>
          <p:nvPr/>
        </p:nvCxnSpPr>
        <p:spPr>
          <a:xfrm flipH="1">
            <a:off x="10987558" y="1909102"/>
            <a:ext cx="11345" cy="426061"/>
          </a:xfrm>
          <a:prstGeom prst="straightConnector1">
            <a:avLst/>
          </a:prstGeom>
          <a:ln w="28575">
            <a:solidFill>
              <a:srgbClr val="0042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>
            <a:extLst>
              <a:ext uri="{FF2B5EF4-FFF2-40B4-BE49-F238E27FC236}">
                <a16:creationId xmlns:a16="http://schemas.microsoft.com/office/drawing/2014/main" id="{8A17D395-5127-6864-4BA0-D2641602C108}"/>
              </a:ext>
            </a:extLst>
          </p:cNvPr>
          <p:cNvCxnSpPr>
            <a:cxnSpLocks/>
          </p:cNvCxnSpPr>
          <p:nvPr/>
        </p:nvCxnSpPr>
        <p:spPr>
          <a:xfrm flipH="1">
            <a:off x="9625865" y="1909102"/>
            <a:ext cx="11345" cy="426061"/>
          </a:xfrm>
          <a:prstGeom prst="straightConnector1">
            <a:avLst/>
          </a:prstGeom>
          <a:ln w="28575">
            <a:solidFill>
              <a:srgbClr val="0042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>
            <a:extLst>
              <a:ext uri="{FF2B5EF4-FFF2-40B4-BE49-F238E27FC236}">
                <a16:creationId xmlns:a16="http://schemas.microsoft.com/office/drawing/2014/main" id="{00D11247-4983-6D85-6C96-1310D060A16E}"/>
              </a:ext>
            </a:extLst>
          </p:cNvPr>
          <p:cNvCxnSpPr>
            <a:cxnSpLocks/>
          </p:cNvCxnSpPr>
          <p:nvPr/>
        </p:nvCxnSpPr>
        <p:spPr>
          <a:xfrm flipH="1">
            <a:off x="7208316" y="1857653"/>
            <a:ext cx="11345" cy="426061"/>
          </a:xfrm>
          <a:prstGeom prst="straightConnector1">
            <a:avLst/>
          </a:prstGeom>
          <a:ln w="28575">
            <a:solidFill>
              <a:srgbClr val="0042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A8A0CA5-7F94-4ABB-DB1D-C06899A68317}"/>
              </a:ext>
            </a:extLst>
          </p:cNvPr>
          <p:cNvSpPr txBox="1"/>
          <p:nvPr/>
        </p:nvSpPr>
        <p:spPr>
          <a:xfrm>
            <a:off x="8976866" y="2309523"/>
            <a:ext cx="2932985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Деректе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егізінде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гипотезала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ою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дәлелде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азасын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ыптастыру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зерттеуле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үргізу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аның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роблемаларын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шешу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ұсыныста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әзірлеу</a:t>
            </a:r>
            <a:endParaRPr lang="ru-KZ" sz="11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4315914-ECF1-CF1E-B81B-8D1DD0614181}"/>
              </a:ext>
            </a:extLst>
          </p:cNvPr>
          <p:cNvSpPr txBox="1"/>
          <p:nvPr/>
        </p:nvSpPr>
        <p:spPr>
          <a:xfrm>
            <a:off x="5761703" y="2284943"/>
            <a:ext cx="307925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Деректерді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ұсыну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</a:t>
            </a:r>
          </a:p>
          <a:p>
            <a:pPr algn="just"/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міндеттерді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ою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зерттеуле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жүргізуге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ұрау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алуды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лыптастыру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зерттеуле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әтижелері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негізінде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шешімдер</a:t>
            </a:r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1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қабылдау</a:t>
            </a:r>
            <a:endParaRPr lang="ru-KZ" sz="11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Google Shape;223;p27">
            <a:extLst>
              <a:ext uri="{FF2B5EF4-FFF2-40B4-BE49-F238E27FC236}">
                <a16:creationId xmlns:a16="http://schemas.microsoft.com/office/drawing/2014/main" id="{648E712C-60A2-A0AD-7B31-6045D84EA10F}"/>
              </a:ext>
            </a:extLst>
          </p:cNvPr>
          <p:cNvSpPr txBox="1"/>
          <p:nvPr/>
        </p:nvSpPr>
        <p:spPr>
          <a:xfrm>
            <a:off x="6715432" y="3392737"/>
            <a:ext cx="4323137" cy="87617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spcFirstLastPara="1" wrap="square" lIns="91425" tIns="91425" rIns="91425" bIns="91425" anchor="b" anchorCtr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1400" b="1" dirty="0">
                <a:solidFill>
                  <a:srgbClr val="0B5394"/>
                </a:solidFill>
                <a:latin typeface="Century Gothic" panose="020B0502020202020204" pitchFamily="34" charset="0"/>
              </a:rPr>
              <a:t>URBAN STUDIES AND DATA SCIENCE LAB</a:t>
            </a:r>
            <a:r>
              <a:rPr lang="kk-KZ" sz="1400" b="1" dirty="0">
                <a:solidFill>
                  <a:srgbClr val="0B5394"/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>
                <a:solidFill>
                  <a:srgbClr val="0B5394"/>
                </a:solidFill>
                <a:latin typeface="Century Gothic" panose="020B0502020202020204" pitchFamily="34" charset="0"/>
              </a:rPr>
              <a:t>ҚАЛАЛЫҚ ЗЕРТТЕУЛЕРДІҢ ПӘНАРАЛЫҚ САРАПТАМАЛЫҚ-ТАЛДАУ ОРТАЛЫҒЫ</a:t>
            </a:r>
            <a:endParaRPr lang="en-US" sz="1400" dirty="0">
              <a:solidFill>
                <a:srgbClr val="0B5394"/>
              </a:solidFill>
              <a:latin typeface="Century Gothic" panose="020B0502020202020204" pitchFamily="34" charset="0"/>
            </a:endParaRPr>
          </a:p>
        </p:txBody>
      </p:sp>
      <p:sp>
        <p:nvSpPr>
          <p:cNvPr id="51" name="Google Shape;229;p27">
            <a:extLst>
              <a:ext uri="{FF2B5EF4-FFF2-40B4-BE49-F238E27FC236}">
                <a16:creationId xmlns:a16="http://schemas.microsoft.com/office/drawing/2014/main" id="{F8419AC3-9DA1-AA03-24E8-E780C94CC996}"/>
              </a:ext>
            </a:extLst>
          </p:cNvPr>
          <p:cNvSpPr txBox="1"/>
          <p:nvPr/>
        </p:nvSpPr>
        <p:spPr>
          <a:xfrm>
            <a:off x="5856174" y="4646442"/>
            <a:ext cx="6053677" cy="55396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 algn="ctr"/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Үлкен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деректер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мен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геоаналитикалық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ұралдарды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олдана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отырып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,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ала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аудандарының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экономикалық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тартымдылығын</a:t>
            </a:r>
            <a:r>
              <a:rPr lang="ru-RU" sz="120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20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зерттеу</a:t>
            </a:r>
            <a:endParaRPr sz="1200" dirty="0">
              <a:latin typeface="Century Gothic" panose="020B0502020202020204" pitchFamily="34" charset="0"/>
            </a:endParaRPr>
          </a:p>
        </p:txBody>
      </p:sp>
      <p:sp>
        <p:nvSpPr>
          <p:cNvPr id="52" name="Google Shape;230;p27">
            <a:extLst>
              <a:ext uri="{FF2B5EF4-FFF2-40B4-BE49-F238E27FC236}">
                <a16:creationId xmlns:a16="http://schemas.microsoft.com/office/drawing/2014/main" id="{BE1193ED-2D0E-1C26-041A-3F1469FA09AD}"/>
              </a:ext>
            </a:extLst>
          </p:cNvPr>
          <p:cNvSpPr txBox="1"/>
          <p:nvPr/>
        </p:nvSpPr>
        <p:spPr>
          <a:xfrm>
            <a:off x="5839620" y="5299154"/>
            <a:ext cx="1480511" cy="992549"/>
          </a:xfrm>
          <a:prstGeom prst="rect">
            <a:avLst/>
          </a:prstGeom>
          <a:solidFill>
            <a:srgbClr val="FFF2CC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Геомаркетинг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картасы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ШОБ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үшін</a:t>
            </a:r>
            <a:endParaRPr lang="ru-RU" sz="1050" b="1" dirty="0">
              <a:solidFill>
                <a:srgbClr val="13447E"/>
              </a:solidFill>
              <a:latin typeface="Century Gothic" panose="020B0502020202020204" pitchFamily="34" charset="0"/>
            </a:endParaRPr>
          </a:p>
          <a:p>
            <a:pPr lvl="0"/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Бизнес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үшін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басым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орындары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бар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сандық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база</a:t>
            </a:r>
            <a:endParaRPr sz="1050" dirty="0">
              <a:solidFill>
                <a:srgbClr val="13447E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Google Shape;231;p27">
            <a:extLst>
              <a:ext uri="{FF2B5EF4-FFF2-40B4-BE49-F238E27FC236}">
                <a16:creationId xmlns:a16="http://schemas.microsoft.com/office/drawing/2014/main" id="{DC04CDD6-5557-13D6-0086-E0703F05C752}"/>
              </a:ext>
            </a:extLst>
          </p:cNvPr>
          <p:cNvSpPr txBox="1"/>
          <p:nvPr/>
        </p:nvSpPr>
        <p:spPr>
          <a:xfrm>
            <a:off x="7451957" y="5297131"/>
            <a:ext cx="2100427" cy="1477297"/>
          </a:xfrm>
          <a:prstGeom prst="rect">
            <a:avLst/>
          </a:prstGeom>
          <a:solidFill>
            <a:srgbClr val="D9EAD3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ала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ағаштарын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цифрлау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жөніндегі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осымша</a:t>
            </a:r>
            <a:endParaRPr lang="ru-RU" sz="1050" b="1" dirty="0">
              <a:solidFill>
                <a:srgbClr val="13447E"/>
              </a:solidFill>
              <a:latin typeface="Century Gothic" panose="020B0502020202020204" pitchFamily="34" charset="0"/>
            </a:endParaRPr>
          </a:p>
          <a:p>
            <a:pPr lvl="0"/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Жасыл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желектердің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түрлері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,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жасы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,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диаметрі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туралы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ақпараты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бар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аладағы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жасыл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желектер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паспорттарының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цифрлық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базасы</a:t>
            </a:r>
            <a:endParaRPr sz="1050" dirty="0">
              <a:solidFill>
                <a:srgbClr val="13447E"/>
              </a:solidFill>
              <a:latin typeface="Century Gothic" panose="020B0502020202020204" pitchFamily="34" charset="0"/>
            </a:endParaRPr>
          </a:p>
        </p:txBody>
      </p:sp>
      <p:sp>
        <p:nvSpPr>
          <p:cNvPr id="54" name="Google Shape;232;p27">
            <a:extLst>
              <a:ext uri="{FF2B5EF4-FFF2-40B4-BE49-F238E27FC236}">
                <a16:creationId xmlns:a16="http://schemas.microsoft.com/office/drawing/2014/main" id="{2001AE16-D925-E746-56B7-E7DB34166920}"/>
              </a:ext>
            </a:extLst>
          </p:cNvPr>
          <p:cNvSpPr txBox="1"/>
          <p:nvPr/>
        </p:nvSpPr>
        <p:spPr>
          <a:xfrm>
            <a:off x="9684210" y="5297130"/>
            <a:ext cx="2225641" cy="1315715"/>
          </a:xfrm>
          <a:prstGeom prst="rect">
            <a:avLst/>
          </a:prstGeom>
          <a:solidFill>
            <a:srgbClr val="CFE2F3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Сапа </a:t>
            </a:r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картасы</a:t>
            </a:r>
            <a:endParaRPr lang="ru-RU" sz="1050" b="1" dirty="0">
              <a:solidFill>
                <a:srgbClr val="13447E"/>
              </a:solidFill>
              <a:latin typeface="Century Gothic" panose="020B0502020202020204" pitchFamily="34" charset="0"/>
            </a:endParaRPr>
          </a:p>
          <a:p>
            <a:pPr lvl="0"/>
            <a:r>
              <a:rPr lang="ru-RU" sz="1050" b="1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алалық</a:t>
            </a:r>
            <a:r>
              <a:rPr lang="ru-RU" sz="1050" b="1" dirty="0">
                <a:solidFill>
                  <a:srgbClr val="13447E"/>
                </a:solidFill>
                <a:latin typeface="Century Gothic" panose="020B0502020202020204" pitchFamily="34" charset="0"/>
              </a:rPr>
              <a:t> орта</a:t>
            </a:r>
          </a:p>
          <a:p>
            <a:pPr lvl="0"/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Берілген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сапа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критерийлері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бойынша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орналасуына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байланысты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қалалық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орта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сапасын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бағалаудың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сандық</a:t>
            </a:r>
            <a:r>
              <a:rPr lang="ru-RU" sz="1050" dirty="0">
                <a:solidFill>
                  <a:srgbClr val="13447E"/>
                </a:solidFill>
                <a:latin typeface="Century Gothic" panose="020B0502020202020204" pitchFamily="34" charset="0"/>
              </a:rPr>
              <a:t> </a:t>
            </a:r>
            <a:r>
              <a:rPr lang="ru-RU" sz="1050" dirty="0" err="1">
                <a:solidFill>
                  <a:srgbClr val="13447E"/>
                </a:solidFill>
                <a:latin typeface="Century Gothic" panose="020B0502020202020204" pitchFamily="34" charset="0"/>
              </a:rPr>
              <a:t>платформасы</a:t>
            </a:r>
            <a:endParaRPr sz="1050" dirty="0">
              <a:solidFill>
                <a:srgbClr val="13447E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0" name="Группа 19">
            <a:extLst>
              <a:ext uri="{FF2B5EF4-FFF2-40B4-BE49-F238E27FC236}">
                <a16:creationId xmlns:a16="http://schemas.microsoft.com/office/drawing/2014/main" id="{84F734DB-3F76-4910-B76A-F04F911BB5C6}"/>
              </a:ext>
            </a:extLst>
          </p:cNvPr>
          <p:cNvGrpSpPr/>
          <p:nvPr/>
        </p:nvGrpSpPr>
        <p:grpSpPr>
          <a:xfrm>
            <a:off x="381000" y="304800"/>
            <a:ext cx="1622351" cy="500489"/>
            <a:chOff x="776751" y="158334"/>
            <a:chExt cx="1622351" cy="500489"/>
          </a:xfrm>
        </p:grpSpPr>
        <p:sp>
          <p:nvSpPr>
            <p:cNvPr id="37" name="object 23">
              <a:extLst>
                <a:ext uri="{FF2B5EF4-FFF2-40B4-BE49-F238E27FC236}">
                  <a16:creationId xmlns:a16="http://schemas.microsoft.com/office/drawing/2014/main" id="{E806FC6D-DF26-4AEE-851A-91DDD7D1472B}"/>
                </a:ext>
              </a:extLst>
            </p:cNvPr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0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8" name="object 24">
              <a:extLst>
                <a:ext uri="{FF2B5EF4-FFF2-40B4-BE49-F238E27FC236}">
                  <a16:creationId xmlns:a16="http://schemas.microsoft.com/office/drawing/2014/main" id="{86CA6097-390F-4417-99BD-3C6FA3EEC8BF}"/>
                </a:ext>
              </a:extLst>
            </p:cNvPr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sz="120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9" name="object 25">
              <a:extLst>
                <a:ext uri="{FF2B5EF4-FFF2-40B4-BE49-F238E27FC236}">
                  <a16:creationId xmlns:a16="http://schemas.microsoft.com/office/drawing/2014/main" id="{0E4AF842-8729-4C34-AA00-D12E948610BD}"/>
                </a:ext>
              </a:extLst>
            </p:cNvPr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 sz="120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0" name="object 26">
              <a:extLst>
                <a:ext uri="{FF2B5EF4-FFF2-40B4-BE49-F238E27FC236}">
                  <a16:creationId xmlns:a16="http://schemas.microsoft.com/office/drawing/2014/main" id="{CE24791D-ACD1-4D46-8454-280939D8809C}"/>
                </a:ext>
              </a:extLst>
            </p:cNvPr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 sz="120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D3D1C267-CAC5-4AC4-99A1-0E7A5745DA23}"/>
              </a:ext>
            </a:extLst>
          </p:cNvPr>
          <p:cNvGrpSpPr/>
          <p:nvPr/>
        </p:nvGrpSpPr>
        <p:grpSpPr>
          <a:xfrm>
            <a:off x="-6337" y="0"/>
            <a:ext cx="12193343" cy="382587"/>
            <a:chOff x="0" y="6401651"/>
            <a:chExt cx="12193343" cy="382587"/>
          </a:xfrm>
        </p:grpSpPr>
        <p:grpSp>
          <p:nvGrpSpPr>
            <p:cNvPr id="43" name="Группа 90">
              <a:extLst>
                <a:ext uri="{FF2B5EF4-FFF2-40B4-BE49-F238E27FC236}">
                  <a16:creationId xmlns:a16="http://schemas.microsoft.com/office/drawing/2014/main" id="{1D07F768-23E2-452A-9B62-6EFE0D13ED58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56" name="object 48">
                <a:extLst>
                  <a:ext uri="{FF2B5EF4-FFF2-40B4-BE49-F238E27FC236}">
                    <a16:creationId xmlns:a16="http://schemas.microsoft.com/office/drawing/2014/main" id="{06522F0D-B473-4DA5-BD55-E44BEBE8ABDA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57" name="object 48">
                <a:extLst>
                  <a:ext uri="{FF2B5EF4-FFF2-40B4-BE49-F238E27FC236}">
                    <a16:creationId xmlns:a16="http://schemas.microsoft.com/office/drawing/2014/main" id="{D712250C-E315-4E9B-996E-BB98025D1532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46" name="Группа 93">
              <a:extLst>
                <a:ext uri="{FF2B5EF4-FFF2-40B4-BE49-F238E27FC236}">
                  <a16:creationId xmlns:a16="http://schemas.microsoft.com/office/drawing/2014/main" id="{8C4A4402-7705-4485-9CEF-A6210A4B891B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49" name="object 48">
                <a:extLst>
                  <a:ext uri="{FF2B5EF4-FFF2-40B4-BE49-F238E27FC236}">
                    <a16:creationId xmlns:a16="http://schemas.microsoft.com/office/drawing/2014/main" id="{00E3FB17-4C61-4A48-9F4A-CA48C8965817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55" name="object 48">
                <a:extLst>
                  <a:ext uri="{FF2B5EF4-FFF2-40B4-BE49-F238E27FC236}">
                    <a16:creationId xmlns:a16="http://schemas.microsoft.com/office/drawing/2014/main" id="{D4D29FE0-2CE8-4983-A2B6-EE6A3475CA2D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E5E01C76-3AE2-4A9D-82F0-9333AC72EA9B}"/>
              </a:ext>
            </a:extLst>
          </p:cNvPr>
          <p:cNvGrpSpPr/>
          <p:nvPr/>
        </p:nvGrpSpPr>
        <p:grpSpPr>
          <a:xfrm flipV="1">
            <a:off x="0" y="6475413"/>
            <a:ext cx="12193343" cy="382587"/>
            <a:chOff x="0" y="6401651"/>
            <a:chExt cx="12193343" cy="382587"/>
          </a:xfrm>
        </p:grpSpPr>
        <p:grpSp>
          <p:nvGrpSpPr>
            <p:cNvPr id="60" name="Группа 119">
              <a:extLst>
                <a:ext uri="{FF2B5EF4-FFF2-40B4-BE49-F238E27FC236}">
                  <a16:creationId xmlns:a16="http://schemas.microsoft.com/office/drawing/2014/main" id="{1E3AEB3D-02BC-4083-8DBA-218AF14B0B7D}"/>
                </a:ext>
              </a:extLst>
            </p:cNvPr>
            <p:cNvGrpSpPr/>
            <p:nvPr/>
          </p:nvGrpSpPr>
          <p:grpSpPr>
            <a:xfrm>
              <a:off x="0" y="6401651"/>
              <a:ext cx="382587" cy="382587"/>
              <a:chOff x="375732" y="844913"/>
              <a:chExt cx="382587" cy="382587"/>
            </a:xfrm>
          </p:grpSpPr>
          <p:sp>
            <p:nvSpPr>
              <p:cNvPr id="64" name="object 48">
                <a:extLst>
                  <a:ext uri="{FF2B5EF4-FFF2-40B4-BE49-F238E27FC236}">
                    <a16:creationId xmlns:a16="http://schemas.microsoft.com/office/drawing/2014/main" id="{799FF7C9-A353-4167-9AB1-2EAE55D1B811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5" name="object 48">
                <a:extLst>
                  <a:ext uri="{FF2B5EF4-FFF2-40B4-BE49-F238E27FC236}">
                    <a16:creationId xmlns:a16="http://schemas.microsoft.com/office/drawing/2014/main" id="{4DD8D1EB-89D5-4F8D-89AF-24D54C52F554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61" name="Группа 120">
              <a:extLst>
                <a:ext uri="{FF2B5EF4-FFF2-40B4-BE49-F238E27FC236}">
                  <a16:creationId xmlns:a16="http://schemas.microsoft.com/office/drawing/2014/main" id="{63A8D2A4-70A2-49EB-9F8E-D94C75279A6A}"/>
                </a:ext>
              </a:extLst>
            </p:cNvPr>
            <p:cNvGrpSpPr/>
            <p:nvPr/>
          </p:nvGrpSpPr>
          <p:grpSpPr>
            <a:xfrm flipH="1">
              <a:off x="11810756" y="6401651"/>
              <a:ext cx="382587" cy="382587"/>
              <a:chOff x="375732" y="844913"/>
              <a:chExt cx="382587" cy="382587"/>
            </a:xfrm>
          </p:grpSpPr>
          <p:sp>
            <p:nvSpPr>
              <p:cNvPr id="62" name="object 48">
                <a:extLst>
                  <a:ext uri="{FF2B5EF4-FFF2-40B4-BE49-F238E27FC236}">
                    <a16:creationId xmlns:a16="http://schemas.microsoft.com/office/drawing/2014/main" id="{492BDDE8-A560-4BA8-8D61-4DEA4913F69C}"/>
                  </a:ext>
                </a:extLst>
              </p:cNvPr>
              <p:cNvSpPr/>
              <p:nvPr/>
            </p:nvSpPr>
            <p:spPr>
              <a:xfrm flipV="1">
                <a:off x="375732" y="84491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63" name="object 48">
                <a:extLst>
                  <a:ext uri="{FF2B5EF4-FFF2-40B4-BE49-F238E27FC236}">
                    <a16:creationId xmlns:a16="http://schemas.microsoft.com/office/drawing/2014/main" id="{0136350E-FDC4-412D-AD1E-53DE56B41FBD}"/>
                  </a:ext>
                </a:extLst>
              </p:cNvPr>
              <p:cNvSpPr/>
              <p:nvPr/>
            </p:nvSpPr>
            <p:spPr>
              <a:xfrm rot="16200000" flipV="1">
                <a:off x="260272" y="960373"/>
                <a:ext cx="382587" cy="151667"/>
              </a:xfrm>
              <a:custGeom>
                <a:avLst/>
                <a:gdLst/>
                <a:ahLst/>
                <a:cxnLst/>
                <a:rect l="l" t="t" r="r" b="b"/>
                <a:pathLst>
                  <a:path w="540384" h="360045">
                    <a:moveTo>
                      <a:pt x="0" y="359994"/>
                    </a:moveTo>
                    <a:lnTo>
                      <a:pt x="540003" y="359994"/>
                    </a:lnTo>
                    <a:lnTo>
                      <a:pt x="540003" y="0"/>
                    </a:lnTo>
                    <a:lnTo>
                      <a:pt x="0" y="0"/>
                    </a:lnTo>
                    <a:lnTo>
                      <a:pt x="0" y="359994"/>
                    </a:lnTo>
                    <a:close/>
                  </a:path>
                </a:pathLst>
              </a:custGeom>
              <a:solidFill>
                <a:srgbClr val="1F385D"/>
              </a:solidFill>
            </p:spPr>
            <p:txBody>
              <a:bodyPr wrap="square" lIns="0" tIns="0" rIns="0" bIns="0" rtlCol="0"/>
              <a:lstStyle/>
              <a:p>
                <a:endParaRPr>
                  <a:solidFill>
                    <a:schemeClr val="accent1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</p:txBody>
          </p:sp>
        </p:grpSp>
      </p:grpSp>
      <p:sp>
        <p:nvSpPr>
          <p:cNvPr id="66" name="CustomShape 3">
            <a:extLst>
              <a:ext uri="{FF2B5EF4-FFF2-40B4-BE49-F238E27FC236}">
                <a16:creationId xmlns:a16="http://schemas.microsoft.com/office/drawing/2014/main" id="{00A79A22-0893-4F67-836E-A1924B6F5E36}"/>
              </a:ext>
            </a:extLst>
          </p:cNvPr>
          <p:cNvSpPr/>
          <p:nvPr/>
        </p:nvSpPr>
        <p:spPr>
          <a:xfrm>
            <a:off x="2958560" y="341789"/>
            <a:ext cx="5649704" cy="58477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AlmaU</a:t>
            </a:r>
            <a:r>
              <a:rPr lang="en-US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 </a:t>
            </a:r>
            <a:r>
              <a:rPr lang="ru-RU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урбанистика </a:t>
            </a:r>
            <a:r>
              <a:rPr lang="ru-RU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орталығы</a:t>
            </a:r>
            <a:r>
              <a:rPr lang="ru-RU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: </a:t>
            </a:r>
            <a:r>
              <a:rPr lang="en-US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DIGITAL ALMATY </a:t>
            </a:r>
            <a:r>
              <a:rPr lang="ru-RU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деректерінің</a:t>
            </a:r>
            <a:r>
              <a:rPr lang="ru-RU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 </a:t>
            </a:r>
            <a:r>
              <a:rPr lang="ru-RU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негізінде</a:t>
            </a:r>
            <a:r>
              <a:rPr lang="ru-RU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 Алматы </a:t>
            </a:r>
            <a:r>
              <a:rPr lang="ru-RU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қаласының</a:t>
            </a:r>
            <a:r>
              <a:rPr lang="ru-RU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 </a:t>
            </a:r>
            <a:r>
              <a:rPr lang="ru-RU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аудандарын</a:t>
            </a:r>
            <a:r>
              <a:rPr lang="ru-RU" sz="1400" b="1" spc="-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 </a:t>
            </a:r>
            <a:r>
              <a:rPr lang="ru-RU" sz="1400" b="1" spc="-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ea typeface="Arial"/>
              </a:rPr>
              <a:t>зерттеу</a:t>
            </a:r>
            <a:endParaRPr lang="ru-RU" sz="1400" b="1" spc="-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ea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5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5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1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2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3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</p:grpSp>
      <p:sp>
        <p:nvSpPr>
          <p:cNvPr id="31" name="object 27">
            <a:extLst>
              <a:ext uri="{FF2B5EF4-FFF2-40B4-BE49-F238E27FC236}">
                <a16:creationId xmlns:a16="http://schemas.microsoft.com/office/drawing/2014/main" id="{39CDAC3E-989D-4665-84A3-DF7EF488F299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8F7CC0E8-CD33-4AA1-AE0F-E43292007D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492" y="34875"/>
            <a:ext cx="12096750" cy="68199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F002798-7BAB-412C-AE5D-686EC6FE309B}"/>
              </a:ext>
            </a:extLst>
          </p:cNvPr>
          <p:cNvSpPr txBox="1"/>
          <p:nvPr/>
        </p:nvSpPr>
        <p:spPr>
          <a:xfrm>
            <a:off x="3391802" y="296344"/>
            <a:ext cx="55552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 err="1">
                <a:latin typeface="Century Gothic" panose="020B0502020202020204" pitchFamily="34" charset="0"/>
              </a:rPr>
              <a:t>Халықаралық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бағалау</a:t>
            </a:r>
            <a:endParaRPr lang="ru-RU" sz="2000" b="1" dirty="0">
              <a:latin typeface="Century Gothic" panose="020B0502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A69D856-4C10-4652-8580-A24704393C38}"/>
              </a:ext>
            </a:extLst>
          </p:cNvPr>
          <p:cNvSpPr/>
          <p:nvPr/>
        </p:nvSpPr>
        <p:spPr>
          <a:xfrm>
            <a:off x="5638800" y="4419600"/>
            <a:ext cx="6019800" cy="954107"/>
          </a:xfrm>
          <a:prstGeom prst="rect">
            <a:avLst/>
          </a:prstGeom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err="1">
                <a:latin typeface="Century Gothic" panose="020B0502020202020204" pitchFamily="34" charset="0"/>
              </a:rPr>
              <a:t>Ақылды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қаланы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дамыту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бойынша</a:t>
            </a:r>
            <a:r>
              <a:rPr lang="ru-RU" sz="1400" b="1" dirty="0">
                <a:latin typeface="Century Gothic" panose="020B0502020202020204" pitchFamily="34" charset="0"/>
              </a:rPr>
              <a:t> 3 </a:t>
            </a:r>
            <a:r>
              <a:rPr lang="ru-RU" sz="1400" b="1" dirty="0" err="1">
                <a:latin typeface="Century Gothic" panose="020B0502020202020204" pitchFamily="34" charset="0"/>
              </a:rPr>
              <a:t>жылдық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жұмыс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нәтижелері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бойынша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қала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болашақ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қалалар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тұжырымдамасын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дамыту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үшін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барынша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дайын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қалалар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тізіміне</a:t>
            </a:r>
            <a:r>
              <a:rPr lang="ru-RU" sz="1400" b="1" dirty="0">
                <a:latin typeface="Century Gothic" panose="020B0502020202020204" pitchFamily="34" charset="0"/>
              </a:rPr>
              <a:t> </a:t>
            </a:r>
            <a:r>
              <a:rPr lang="ru-RU" sz="1400" b="1" dirty="0" err="1">
                <a:latin typeface="Century Gothic" panose="020B0502020202020204" pitchFamily="34" charset="0"/>
              </a:rPr>
              <a:t>енді</a:t>
            </a:r>
            <a:r>
              <a:rPr lang="ru-RU" sz="1400" b="1" dirty="0">
                <a:latin typeface="Century Gothic" panose="020B0502020202020204" pitchFamily="34" charset="0"/>
              </a:rPr>
              <a:t>. </a:t>
            </a:r>
            <a:r>
              <a:rPr lang="ru-RU" sz="1400" b="1" dirty="0" err="1">
                <a:latin typeface="Century Gothic" panose="020B0502020202020204" pitchFamily="34" charset="0"/>
              </a:rPr>
              <a:t>Азиядан</a:t>
            </a:r>
            <a:r>
              <a:rPr lang="ru-RU" sz="1400" b="1" dirty="0">
                <a:latin typeface="Century Gothic" panose="020B0502020202020204" pitchFamily="34" charset="0"/>
              </a:rPr>
              <a:t> тек Сеул, Сингапур </a:t>
            </a:r>
            <a:r>
              <a:rPr lang="ru-RU" sz="1400" b="1" dirty="0" err="1">
                <a:latin typeface="Century Gothic" panose="020B0502020202020204" pitchFamily="34" charset="0"/>
              </a:rPr>
              <a:t>және</a:t>
            </a:r>
            <a:r>
              <a:rPr lang="ru-RU" sz="1400" b="1" dirty="0">
                <a:latin typeface="Century Gothic" panose="020B0502020202020204" pitchFamily="34" charset="0"/>
              </a:rPr>
              <a:t> Алматы </a:t>
            </a:r>
            <a:r>
              <a:rPr lang="ru-RU" sz="1400" b="1" dirty="0" err="1">
                <a:latin typeface="Century Gothic" panose="020B0502020202020204" pitchFamily="34" charset="0"/>
              </a:rPr>
              <a:t>іріктелді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204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57"/>
          <p:cNvGrpSpPr/>
          <p:nvPr/>
        </p:nvGrpSpPr>
        <p:grpSpPr>
          <a:xfrm>
            <a:off x="381000" y="327663"/>
            <a:ext cx="1622351" cy="500489"/>
            <a:chOff x="776751" y="158334"/>
            <a:chExt cx="1622351" cy="500489"/>
          </a:xfrm>
        </p:grpSpPr>
        <p:sp>
          <p:nvSpPr>
            <p:cNvPr id="59" name="object 23"/>
            <p:cNvSpPr/>
            <p:nvPr/>
          </p:nvSpPr>
          <p:spPr>
            <a:xfrm>
              <a:off x="776751" y="158334"/>
              <a:ext cx="409359" cy="50048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1" name="object 24"/>
            <p:cNvSpPr/>
            <p:nvPr/>
          </p:nvSpPr>
          <p:spPr>
            <a:xfrm>
              <a:off x="1353837" y="284054"/>
              <a:ext cx="720725" cy="70485"/>
            </a:xfrm>
            <a:custGeom>
              <a:avLst/>
              <a:gdLst/>
              <a:ahLst/>
              <a:cxnLst/>
              <a:rect l="l" t="t" r="r" b="b"/>
              <a:pathLst>
                <a:path w="720725" h="70484">
                  <a:moveTo>
                    <a:pt x="672896" y="20205"/>
                  </a:moveTo>
                  <a:lnTo>
                    <a:pt x="664641" y="20205"/>
                  </a:lnTo>
                  <a:lnTo>
                    <a:pt x="664641" y="68656"/>
                  </a:lnTo>
                  <a:lnTo>
                    <a:pt x="664933" y="68656"/>
                  </a:lnTo>
                  <a:lnTo>
                    <a:pt x="670039" y="69062"/>
                  </a:lnTo>
                  <a:lnTo>
                    <a:pt x="676935" y="69265"/>
                  </a:lnTo>
                  <a:lnTo>
                    <a:pt x="692073" y="69265"/>
                  </a:lnTo>
                  <a:lnTo>
                    <a:pt x="696607" y="68186"/>
                  </a:lnTo>
                  <a:lnTo>
                    <a:pt x="701916" y="63868"/>
                  </a:lnTo>
                  <a:lnTo>
                    <a:pt x="702343" y="62598"/>
                  </a:lnTo>
                  <a:lnTo>
                    <a:pt x="684339" y="62598"/>
                  </a:lnTo>
                  <a:lnTo>
                    <a:pt x="672896" y="62496"/>
                  </a:lnTo>
                  <a:lnTo>
                    <a:pt x="672896" y="45275"/>
                  </a:lnTo>
                  <a:lnTo>
                    <a:pt x="702162" y="45275"/>
                  </a:lnTo>
                  <a:lnTo>
                    <a:pt x="701890" y="44488"/>
                  </a:lnTo>
                  <a:lnTo>
                    <a:pt x="696442" y="40106"/>
                  </a:lnTo>
                  <a:lnTo>
                    <a:pt x="691502" y="39001"/>
                  </a:lnTo>
                  <a:lnTo>
                    <a:pt x="672896" y="39001"/>
                  </a:lnTo>
                  <a:lnTo>
                    <a:pt x="672896" y="20205"/>
                  </a:lnTo>
                  <a:close/>
                </a:path>
                <a:path w="720725" h="70484">
                  <a:moveTo>
                    <a:pt x="702162" y="45275"/>
                  </a:moveTo>
                  <a:lnTo>
                    <a:pt x="688314" y="45275"/>
                  </a:lnTo>
                  <a:lnTo>
                    <a:pt x="691045" y="45885"/>
                  </a:lnTo>
                  <a:lnTo>
                    <a:pt x="693953" y="48348"/>
                  </a:lnTo>
                  <a:lnTo>
                    <a:pt x="694690" y="50584"/>
                  </a:lnTo>
                  <a:lnTo>
                    <a:pt x="694690" y="57353"/>
                  </a:lnTo>
                  <a:lnTo>
                    <a:pt x="693940" y="59689"/>
                  </a:lnTo>
                  <a:lnTo>
                    <a:pt x="690956" y="62014"/>
                  </a:lnTo>
                  <a:lnTo>
                    <a:pt x="688251" y="62598"/>
                  </a:lnTo>
                  <a:lnTo>
                    <a:pt x="702343" y="62598"/>
                  </a:lnTo>
                  <a:lnTo>
                    <a:pt x="703249" y="59905"/>
                  </a:lnTo>
                  <a:lnTo>
                    <a:pt x="703223" y="48348"/>
                  </a:lnTo>
                  <a:lnTo>
                    <a:pt x="702162" y="45275"/>
                  </a:lnTo>
                  <a:close/>
                </a:path>
                <a:path w="720725" h="70484">
                  <a:moveTo>
                    <a:pt x="720661" y="20205"/>
                  </a:moveTo>
                  <a:lnTo>
                    <a:pt x="712101" y="20205"/>
                  </a:lnTo>
                  <a:lnTo>
                    <a:pt x="712101" y="68656"/>
                  </a:lnTo>
                  <a:lnTo>
                    <a:pt x="720661" y="68656"/>
                  </a:lnTo>
                  <a:lnTo>
                    <a:pt x="720661" y="20205"/>
                  </a:lnTo>
                  <a:close/>
                </a:path>
                <a:path w="720725" h="70484">
                  <a:moveTo>
                    <a:pt x="642747" y="19011"/>
                  </a:moveTo>
                  <a:lnTo>
                    <a:pt x="628015" y="19011"/>
                  </a:lnTo>
                  <a:lnTo>
                    <a:pt x="622096" y="20916"/>
                  </a:lnTo>
                  <a:lnTo>
                    <a:pt x="615124" y="28549"/>
                  </a:lnTo>
                  <a:lnTo>
                    <a:pt x="613384" y="35090"/>
                  </a:lnTo>
                  <a:lnTo>
                    <a:pt x="613384" y="53733"/>
                  </a:lnTo>
                  <a:lnTo>
                    <a:pt x="615111" y="60324"/>
                  </a:lnTo>
                  <a:lnTo>
                    <a:pt x="622007" y="67944"/>
                  </a:lnTo>
                  <a:lnTo>
                    <a:pt x="627951" y="69862"/>
                  </a:lnTo>
                  <a:lnTo>
                    <a:pt x="642683" y="69862"/>
                  </a:lnTo>
                  <a:lnTo>
                    <a:pt x="648182" y="69024"/>
                  </a:lnTo>
                  <a:lnTo>
                    <a:pt x="652894" y="67373"/>
                  </a:lnTo>
                  <a:lnTo>
                    <a:pt x="652235" y="62699"/>
                  </a:lnTo>
                  <a:lnTo>
                    <a:pt x="631926" y="62699"/>
                  </a:lnTo>
                  <a:lnTo>
                    <a:pt x="627888" y="61404"/>
                  </a:lnTo>
                  <a:lnTo>
                    <a:pt x="623379" y="56222"/>
                  </a:lnTo>
                  <a:lnTo>
                    <a:pt x="622249" y="51409"/>
                  </a:lnTo>
                  <a:lnTo>
                    <a:pt x="622249" y="37414"/>
                  </a:lnTo>
                  <a:lnTo>
                    <a:pt x="623392" y="32638"/>
                  </a:lnTo>
                  <a:lnTo>
                    <a:pt x="627964" y="27470"/>
                  </a:lnTo>
                  <a:lnTo>
                    <a:pt x="631990" y="26174"/>
                  </a:lnTo>
                  <a:lnTo>
                    <a:pt x="651019" y="26174"/>
                  </a:lnTo>
                  <a:lnTo>
                    <a:pt x="651992" y="21297"/>
                  </a:lnTo>
                  <a:lnTo>
                    <a:pt x="647954" y="19773"/>
                  </a:lnTo>
                  <a:lnTo>
                    <a:pt x="642747" y="19011"/>
                  </a:lnTo>
                  <a:close/>
                </a:path>
                <a:path w="720725" h="70484">
                  <a:moveTo>
                    <a:pt x="652094" y="61696"/>
                  </a:moveTo>
                  <a:lnTo>
                    <a:pt x="647915" y="62356"/>
                  </a:lnTo>
                  <a:lnTo>
                    <a:pt x="643140" y="62699"/>
                  </a:lnTo>
                  <a:lnTo>
                    <a:pt x="652235" y="62699"/>
                  </a:lnTo>
                  <a:lnTo>
                    <a:pt x="652094" y="61696"/>
                  </a:lnTo>
                  <a:close/>
                </a:path>
                <a:path w="720725" h="70484">
                  <a:moveTo>
                    <a:pt x="651019" y="26174"/>
                  </a:moveTo>
                  <a:lnTo>
                    <a:pt x="642150" y="26174"/>
                  </a:lnTo>
                  <a:lnTo>
                    <a:pt x="646518" y="26365"/>
                  </a:lnTo>
                  <a:lnTo>
                    <a:pt x="650900" y="26771"/>
                  </a:lnTo>
                  <a:lnTo>
                    <a:pt x="651019" y="26174"/>
                  </a:lnTo>
                  <a:close/>
                </a:path>
                <a:path w="720725" h="70484">
                  <a:moveTo>
                    <a:pt x="599338" y="26174"/>
                  </a:moveTo>
                  <a:lnTo>
                    <a:pt x="585660" y="26174"/>
                  </a:lnTo>
                  <a:lnTo>
                    <a:pt x="588213" y="26796"/>
                  </a:lnTo>
                  <a:lnTo>
                    <a:pt x="590994" y="29324"/>
                  </a:lnTo>
                  <a:lnTo>
                    <a:pt x="591731" y="31483"/>
                  </a:lnTo>
                  <a:lnTo>
                    <a:pt x="591794" y="38811"/>
                  </a:lnTo>
                  <a:lnTo>
                    <a:pt x="567347" y="38811"/>
                  </a:lnTo>
                  <a:lnTo>
                    <a:pt x="564045" y="39852"/>
                  </a:lnTo>
                  <a:lnTo>
                    <a:pt x="559333" y="44030"/>
                  </a:lnTo>
                  <a:lnTo>
                    <a:pt x="558152" y="46964"/>
                  </a:lnTo>
                  <a:lnTo>
                    <a:pt x="558152" y="60337"/>
                  </a:lnTo>
                  <a:lnTo>
                    <a:pt x="559447" y="63665"/>
                  </a:lnTo>
                  <a:lnTo>
                    <a:pt x="564629" y="68376"/>
                  </a:lnTo>
                  <a:lnTo>
                    <a:pt x="568134" y="69557"/>
                  </a:lnTo>
                  <a:lnTo>
                    <a:pt x="576630" y="69557"/>
                  </a:lnTo>
                  <a:lnTo>
                    <a:pt x="580402" y="68681"/>
                  </a:lnTo>
                  <a:lnTo>
                    <a:pt x="587362" y="65163"/>
                  </a:lnTo>
                  <a:lnTo>
                    <a:pt x="590270" y="63093"/>
                  </a:lnTo>
                  <a:lnTo>
                    <a:pt x="590987" y="62356"/>
                  </a:lnTo>
                  <a:lnTo>
                    <a:pt x="576859" y="62356"/>
                  </a:lnTo>
                  <a:lnTo>
                    <a:pt x="574281" y="62293"/>
                  </a:lnTo>
                  <a:lnTo>
                    <a:pt x="571690" y="62293"/>
                  </a:lnTo>
                  <a:lnTo>
                    <a:pt x="569785" y="61709"/>
                  </a:lnTo>
                  <a:lnTo>
                    <a:pt x="567321" y="59385"/>
                  </a:lnTo>
                  <a:lnTo>
                    <a:pt x="566724" y="57543"/>
                  </a:lnTo>
                  <a:lnTo>
                    <a:pt x="566724" y="47701"/>
                  </a:lnTo>
                  <a:lnTo>
                    <a:pt x="568845" y="45478"/>
                  </a:lnTo>
                  <a:lnTo>
                    <a:pt x="573087" y="45275"/>
                  </a:lnTo>
                  <a:lnTo>
                    <a:pt x="600252" y="45275"/>
                  </a:lnTo>
                  <a:lnTo>
                    <a:pt x="600252" y="28892"/>
                  </a:lnTo>
                  <a:lnTo>
                    <a:pt x="599338" y="26174"/>
                  </a:lnTo>
                  <a:close/>
                </a:path>
                <a:path w="720725" h="70484">
                  <a:moveTo>
                    <a:pt x="600252" y="60705"/>
                  </a:moveTo>
                  <a:lnTo>
                    <a:pt x="592594" y="60705"/>
                  </a:lnTo>
                  <a:lnTo>
                    <a:pt x="593585" y="68656"/>
                  </a:lnTo>
                  <a:lnTo>
                    <a:pt x="600252" y="68656"/>
                  </a:lnTo>
                  <a:lnTo>
                    <a:pt x="600252" y="60705"/>
                  </a:lnTo>
                  <a:close/>
                </a:path>
                <a:path w="720725" h="70484">
                  <a:moveTo>
                    <a:pt x="600252" y="45275"/>
                  </a:moveTo>
                  <a:lnTo>
                    <a:pt x="591794" y="45275"/>
                  </a:lnTo>
                  <a:lnTo>
                    <a:pt x="591794" y="55029"/>
                  </a:lnTo>
                  <a:lnTo>
                    <a:pt x="589076" y="57416"/>
                  </a:lnTo>
                  <a:lnTo>
                    <a:pt x="586117" y="59245"/>
                  </a:lnTo>
                  <a:lnTo>
                    <a:pt x="579755" y="61760"/>
                  </a:lnTo>
                  <a:lnTo>
                    <a:pt x="576859" y="62356"/>
                  </a:lnTo>
                  <a:lnTo>
                    <a:pt x="590987" y="62356"/>
                  </a:lnTo>
                  <a:lnTo>
                    <a:pt x="592594" y="60705"/>
                  </a:lnTo>
                  <a:lnTo>
                    <a:pt x="600252" y="60705"/>
                  </a:lnTo>
                  <a:lnTo>
                    <a:pt x="600252" y="45275"/>
                  </a:lnTo>
                  <a:close/>
                </a:path>
                <a:path w="720725" h="70484">
                  <a:moveTo>
                    <a:pt x="589368" y="19011"/>
                  </a:moveTo>
                  <a:lnTo>
                    <a:pt x="577100" y="19011"/>
                  </a:lnTo>
                  <a:lnTo>
                    <a:pt x="569264" y="19735"/>
                  </a:lnTo>
                  <a:lnTo>
                    <a:pt x="560247" y="21196"/>
                  </a:lnTo>
                  <a:lnTo>
                    <a:pt x="561047" y="27470"/>
                  </a:lnTo>
                  <a:lnTo>
                    <a:pt x="570268" y="26606"/>
                  </a:lnTo>
                  <a:lnTo>
                    <a:pt x="577227" y="26174"/>
                  </a:lnTo>
                  <a:lnTo>
                    <a:pt x="599338" y="26174"/>
                  </a:lnTo>
                  <a:lnTo>
                    <a:pt x="598906" y="24891"/>
                  </a:lnTo>
                  <a:lnTo>
                    <a:pt x="593534" y="20180"/>
                  </a:lnTo>
                  <a:lnTo>
                    <a:pt x="589368" y="19011"/>
                  </a:lnTo>
                  <a:close/>
                </a:path>
                <a:path w="720725" h="70484">
                  <a:moveTo>
                    <a:pt x="544918" y="20205"/>
                  </a:moveTo>
                  <a:lnTo>
                    <a:pt x="520344" y="20205"/>
                  </a:lnTo>
                  <a:lnTo>
                    <a:pt x="517359" y="21132"/>
                  </a:lnTo>
                  <a:lnTo>
                    <a:pt x="513372" y="24841"/>
                  </a:lnTo>
                  <a:lnTo>
                    <a:pt x="512152" y="27698"/>
                  </a:lnTo>
                  <a:lnTo>
                    <a:pt x="511683" y="31546"/>
                  </a:lnTo>
                  <a:lnTo>
                    <a:pt x="510425" y="43751"/>
                  </a:lnTo>
                  <a:lnTo>
                    <a:pt x="509003" y="51879"/>
                  </a:lnTo>
                  <a:lnTo>
                    <a:pt x="498856" y="62699"/>
                  </a:lnTo>
                  <a:lnTo>
                    <a:pt x="499745" y="69164"/>
                  </a:lnTo>
                  <a:lnTo>
                    <a:pt x="519645" y="32931"/>
                  </a:lnTo>
                  <a:lnTo>
                    <a:pt x="519976" y="30683"/>
                  </a:lnTo>
                  <a:lnTo>
                    <a:pt x="520598" y="29108"/>
                  </a:lnTo>
                  <a:lnTo>
                    <a:pt x="522376" y="27317"/>
                  </a:lnTo>
                  <a:lnTo>
                    <a:pt x="523862" y="26873"/>
                  </a:lnTo>
                  <a:lnTo>
                    <a:pt x="544918" y="26873"/>
                  </a:lnTo>
                  <a:lnTo>
                    <a:pt x="544918" y="20205"/>
                  </a:lnTo>
                  <a:close/>
                </a:path>
                <a:path w="720725" h="70484">
                  <a:moveTo>
                    <a:pt x="544918" y="26873"/>
                  </a:moveTo>
                  <a:lnTo>
                    <a:pt x="536460" y="26873"/>
                  </a:lnTo>
                  <a:lnTo>
                    <a:pt x="536460" y="68656"/>
                  </a:lnTo>
                  <a:lnTo>
                    <a:pt x="544918" y="68656"/>
                  </a:lnTo>
                  <a:lnTo>
                    <a:pt x="544918" y="26873"/>
                  </a:lnTo>
                  <a:close/>
                </a:path>
                <a:path w="720725" h="70484">
                  <a:moveTo>
                    <a:pt x="488479" y="26174"/>
                  </a:moveTo>
                  <a:lnTo>
                    <a:pt x="474802" y="26174"/>
                  </a:lnTo>
                  <a:lnTo>
                    <a:pt x="477354" y="26796"/>
                  </a:lnTo>
                  <a:lnTo>
                    <a:pt x="480148" y="29324"/>
                  </a:lnTo>
                  <a:lnTo>
                    <a:pt x="480872" y="31483"/>
                  </a:lnTo>
                  <a:lnTo>
                    <a:pt x="480936" y="38811"/>
                  </a:lnTo>
                  <a:lnTo>
                    <a:pt x="456488" y="38811"/>
                  </a:lnTo>
                  <a:lnTo>
                    <a:pt x="453199" y="39852"/>
                  </a:lnTo>
                  <a:lnTo>
                    <a:pt x="448487" y="44030"/>
                  </a:lnTo>
                  <a:lnTo>
                    <a:pt x="447306" y="46964"/>
                  </a:lnTo>
                  <a:lnTo>
                    <a:pt x="447306" y="60337"/>
                  </a:lnTo>
                  <a:lnTo>
                    <a:pt x="448589" y="63665"/>
                  </a:lnTo>
                  <a:lnTo>
                    <a:pt x="453771" y="68376"/>
                  </a:lnTo>
                  <a:lnTo>
                    <a:pt x="457288" y="69557"/>
                  </a:lnTo>
                  <a:lnTo>
                    <a:pt x="465772" y="69557"/>
                  </a:lnTo>
                  <a:lnTo>
                    <a:pt x="469544" y="68681"/>
                  </a:lnTo>
                  <a:lnTo>
                    <a:pt x="476516" y="65163"/>
                  </a:lnTo>
                  <a:lnTo>
                    <a:pt x="479412" y="63093"/>
                  </a:lnTo>
                  <a:lnTo>
                    <a:pt x="480129" y="62356"/>
                  </a:lnTo>
                  <a:lnTo>
                    <a:pt x="466013" y="62356"/>
                  </a:lnTo>
                  <a:lnTo>
                    <a:pt x="463423" y="62293"/>
                  </a:lnTo>
                  <a:lnTo>
                    <a:pt x="460844" y="62293"/>
                  </a:lnTo>
                  <a:lnTo>
                    <a:pt x="458927" y="61709"/>
                  </a:lnTo>
                  <a:lnTo>
                    <a:pt x="456476" y="59385"/>
                  </a:lnTo>
                  <a:lnTo>
                    <a:pt x="455866" y="57543"/>
                  </a:lnTo>
                  <a:lnTo>
                    <a:pt x="455866" y="47701"/>
                  </a:lnTo>
                  <a:lnTo>
                    <a:pt x="457987" y="45478"/>
                  </a:lnTo>
                  <a:lnTo>
                    <a:pt x="462229" y="45275"/>
                  </a:lnTo>
                  <a:lnTo>
                    <a:pt x="489394" y="45275"/>
                  </a:lnTo>
                  <a:lnTo>
                    <a:pt x="489394" y="28892"/>
                  </a:lnTo>
                  <a:lnTo>
                    <a:pt x="488479" y="26174"/>
                  </a:lnTo>
                  <a:close/>
                </a:path>
                <a:path w="720725" h="70484">
                  <a:moveTo>
                    <a:pt x="489394" y="60705"/>
                  </a:moveTo>
                  <a:lnTo>
                    <a:pt x="481736" y="60705"/>
                  </a:lnTo>
                  <a:lnTo>
                    <a:pt x="482727" y="68656"/>
                  </a:lnTo>
                  <a:lnTo>
                    <a:pt x="489394" y="68656"/>
                  </a:lnTo>
                  <a:lnTo>
                    <a:pt x="489394" y="60705"/>
                  </a:lnTo>
                  <a:close/>
                </a:path>
                <a:path w="720725" h="70484">
                  <a:moveTo>
                    <a:pt x="489394" y="45275"/>
                  </a:moveTo>
                  <a:lnTo>
                    <a:pt x="480936" y="45275"/>
                  </a:lnTo>
                  <a:lnTo>
                    <a:pt x="480936" y="55029"/>
                  </a:lnTo>
                  <a:lnTo>
                    <a:pt x="478218" y="57416"/>
                  </a:lnTo>
                  <a:lnTo>
                    <a:pt x="475259" y="59245"/>
                  </a:lnTo>
                  <a:lnTo>
                    <a:pt x="468896" y="61760"/>
                  </a:lnTo>
                  <a:lnTo>
                    <a:pt x="466013" y="62356"/>
                  </a:lnTo>
                  <a:lnTo>
                    <a:pt x="480129" y="62356"/>
                  </a:lnTo>
                  <a:lnTo>
                    <a:pt x="481736" y="60705"/>
                  </a:lnTo>
                  <a:lnTo>
                    <a:pt x="489394" y="60705"/>
                  </a:lnTo>
                  <a:lnTo>
                    <a:pt x="489394" y="45275"/>
                  </a:lnTo>
                  <a:close/>
                </a:path>
                <a:path w="720725" h="70484">
                  <a:moveTo>
                    <a:pt x="478510" y="19011"/>
                  </a:moveTo>
                  <a:lnTo>
                    <a:pt x="466242" y="19011"/>
                  </a:lnTo>
                  <a:lnTo>
                    <a:pt x="458419" y="19735"/>
                  </a:lnTo>
                  <a:lnTo>
                    <a:pt x="449389" y="21196"/>
                  </a:lnTo>
                  <a:lnTo>
                    <a:pt x="450189" y="27470"/>
                  </a:lnTo>
                  <a:lnTo>
                    <a:pt x="459409" y="26606"/>
                  </a:lnTo>
                  <a:lnTo>
                    <a:pt x="466382" y="26174"/>
                  </a:lnTo>
                  <a:lnTo>
                    <a:pt x="488479" y="26174"/>
                  </a:lnTo>
                  <a:lnTo>
                    <a:pt x="488048" y="24891"/>
                  </a:lnTo>
                  <a:lnTo>
                    <a:pt x="482676" y="20180"/>
                  </a:lnTo>
                  <a:lnTo>
                    <a:pt x="478510" y="19011"/>
                  </a:lnTo>
                  <a:close/>
                </a:path>
                <a:path w="720725" h="70484">
                  <a:moveTo>
                    <a:pt x="405015" y="20205"/>
                  </a:moveTo>
                  <a:lnTo>
                    <a:pt x="396557" y="20205"/>
                  </a:lnTo>
                  <a:lnTo>
                    <a:pt x="396557" y="68656"/>
                  </a:lnTo>
                  <a:lnTo>
                    <a:pt x="405015" y="68656"/>
                  </a:lnTo>
                  <a:lnTo>
                    <a:pt x="404890" y="49060"/>
                  </a:lnTo>
                  <a:lnTo>
                    <a:pt x="404609" y="46774"/>
                  </a:lnTo>
                  <a:lnTo>
                    <a:pt x="427304" y="46774"/>
                  </a:lnTo>
                  <a:lnTo>
                    <a:pt x="418744" y="43586"/>
                  </a:lnTo>
                  <a:lnTo>
                    <a:pt x="418744" y="43281"/>
                  </a:lnTo>
                  <a:lnTo>
                    <a:pt x="426639" y="40208"/>
                  </a:lnTo>
                  <a:lnTo>
                    <a:pt x="404520" y="40208"/>
                  </a:lnTo>
                  <a:lnTo>
                    <a:pt x="404795" y="38544"/>
                  </a:lnTo>
                  <a:lnTo>
                    <a:pt x="404916" y="37477"/>
                  </a:lnTo>
                  <a:lnTo>
                    <a:pt x="405015" y="20205"/>
                  </a:lnTo>
                  <a:close/>
                </a:path>
                <a:path w="720725" h="70484">
                  <a:moveTo>
                    <a:pt x="427304" y="46774"/>
                  </a:moveTo>
                  <a:lnTo>
                    <a:pt x="413169" y="46774"/>
                  </a:lnTo>
                  <a:lnTo>
                    <a:pt x="414426" y="46951"/>
                  </a:lnTo>
                  <a:lnTo>
                    <a:pt x="416687" y="47675"/>
                  </a:lnTo>
                  <a:lnTo>
                    <a:pt x="429793" y="68656"/>
                  </a:lnTo>
                  <a:lnTo>
                    <a:pt x="438645" y="68656"/>
                  </a:lnTo>
                  <a:lnTo>
                    <a:pt x="428599" y="47993"/>
                  </a:lnTo>
                  <a:lnTo>
                    <a:pt x="427304" y="46774"/>
                  </a:lnTo>
                  <a:close/>
                </a:path>
                <a:path w="720725" h="70484">
                  <a:moveTo>
                    <a:pt x="437261" y="20205"/>
                  </a:moveTo>
                  <a:lnTo>
                    <a:pt x="428498" y="20205"/>
                  </a:lnTo>
                  <a:lnTo>
                    <a:pt x="427101" y="24053"/>
                  </a:lnTo>
                  <a:lnTo>
                    <a:pt x="425983" y="26936"/>
                  </a:lnTo>
                  <a:lnTo>
                    <a:pt x="413600" y="40208"/>
                  </a:lnTo>
                  <a:lnTo>
                    <a:pt x="426639" y="40208"/>
                  </a:lnTo>
                  <a:lnTo>
                    <a:pt x="428371" y="38544"/>
                  </a:lnTo>
                  <a:lnTo>
                    <a:pt x="429425" y="37477"/>
                  </a:lnTo>
                  <a:lnTo>
                    <a:pt x="430022" y="36588"/>
                  </a:lnTo>
                  <a:lnTo>
                    <a:pt x="431342" y="34061"/>
                  </a:lnTo>
                  <a:lnTo>
                    <a:pt x="432676" y="31699"/>
                  </a:lnTo>
                  <a:lnTo>
                    <a:pt x="433222" y="30479"/>
                  </a:lnTo>
                  <a:lnTo>
                    <a:pt x="435876" y="23926"/>
                  </a:lnTo>
                  <a:lnTo>
                    <a:pt x="437261" y="20205"/>
                  </a:lnTo>
                  <a:close/>
                </a:path>
                <a:path w="720725" h="70484">
                  <a:moveTo>
                    <a:pt x="310870" y="20205"/>
                  </a:moveTo>
                  <a:lnTo>
                    <a:pt x="302615" y="20205"/>
                  </a:lnTo>
                  <a:lnTo>
                    <a:pt x="302615" y="68656"/>
                  </a:lnTo>
                  <a:lnTo>
                    <a:pt x="302920" y="68656"/>
                  </a:lnTo>
                  <a:lnTo>
                    <a:pt x="308025" y="69062"/>
                  </a:lnTo>
                  <a:lnTo>
                    <a:pt x="314921" y="69265"/>
                  </a:lnTo>
                  <a:lnTo>
                    <a:pt x="330047" y="69265"/>
                  </a:lnTo>
                  <a:lnTo>
                    <a:pt x="334594" y="68186"/>
                  </a:lnTo>
                  <a:lnTo>
                    <a:pt x="339902" y="63868"/>
                  </a:lnTo>
                  <a:lnTo>
                    <a:pt x="340326" y="62598"/>
                  </a:lnTo>
                  <a:lnTo>
                    <a:pt x="322326" y="62598"/>
                  </a:lnTo>
                  <a:lnTo>
                    <a:pt x="310870" y="62496"/>
                  </a:lnTo>
                  <a:lnTo>
                    <a:pt x="310870" y="45275"/>
                  </a:lnTo>
                  <a:lnTo>
                    <a:pt x="340136" y="45275"/>
                  </a:lnTo>
                  <a:lnTo>
                    <a:pt x="339864" y="44488"/>
                  </a:lnTo>
                  <a:lnTo>
                    <a:pt x="334429" y="40106"/>
                  </a:lnTo>
                  <a:lnTo>
                    <a:pt x="329476" y="39001"/>
                  </a:lnTo>
                  <a:lnTo>
                    <a:pt x="310870" y="39001"/>
                  </a:lnTo>
                  <a:lnTo>
                    <a:pt x="310870" y="20205"/>
                  </a:lnTo>
                  <a:close/>
                </a:path>
                <a:path w="720725" h="70484">
                  <a:moveTo>
                    <a:pt x="340136" y="45275"/>
                  </a:moveTo>
                  <a:lnTo>
                    <a:pt x="326301" y="45275"/>
                  </a:lnTo>
                  <a:lnTo>
                    <a:pt x="329018" y="45885"/>
                  </a:lnTo>
                  <a:lnTo>
                    <a:pt x="331939" y="48348"/>
                  </a:lnTo>
                  <a:lnTo>
                    <a:pt x="332663" y="50584"/>
                  </a:lnTo>
                  <a:lnTo>
                    <a:pt x="332663" y="57353"/>
                  </a:lnTo>
                  <a:lnTo>
                    <a:pt x="331914" y="59689"/>
                  </a:lnTo>
                  <a:lnTo>
                    <a:pt x="328942" y="62014"/>
                  </a:lnTo>
                  <a:lnTo>
                    <a:pt x="326237" y="62598"/>
                  </a:lnTo>
                  <a:lnTo>
                    <a:pt x="340326" y="62598"/>
                  </a:lnTo>
                  <a:lnTo>
                    <a:pt x="341223" y="59905"/>
                  </a:lnTo>
                  <a:lnTo>
                    <a:pt x="341197" y="48348"/>
                  </a:lnTo>
                  <a:lnTo>
                    <a:pt x="340136" y="45275"/>
                  </a:lnTo>
                  <a:close/>
                </a:path>
                <a:path w="720725" h="70484">
                  <a:moveTo>
                    <a:pt x="358635" y="20205"/>
                  </a:moveTo>
                  <a:lnTo>
                    <a:pt x="350075" y="20205"/>
                  </a:lnTo>
                  <a:lnTo>
                    <a:pt x="350075" y="68656"/>
                  </a:lnTo>
                  <a:lnTo>
                    <a:pt x="358635" y="68656"/>
                  </a:lnTo>
                  <a:lnTo>
                    <a:pt x="358635" y="20205"/>
                  </a:lnTo>
                  <a:close/>
                </a:path>
                <a:path w="720725" h="70484">
                  <a:moveTo>
                    <a:pt x="274650" y="27165"/>
                  </a:moveTo>
                  <a:lnTo>
                    <a:pt x="266192" y="27165"/>
                  </a:lnTo>
                  <a:lnTo>
                    <a:pt x="266192" y="68656"/>
                  </a:lnTo>
                  <a:lnTo>
                    <a:pt x="274650" y="68656"/>
                  </a:lnTo>
                  <a:lnTo>
                    <a:pt x="274650" y="27165"/>
                  </a:lnTo>
                  <a:close/>
                </a:path>
                <a:path w="720725" h="70484">
                  <a:moveTo>
                    <a:pt x="292163" y="20205"/>
                  </a:moveTo>
                  <a:lnTo>
                    <a:pt x="248577" y="20205"/>
                  </a:lnTo>
                  <a:lnTo>
                    <a:pt x="248577" y="27165"/>
                  </a:lnTo>
                  <a:lnTo>
                    <a:pt x="292163" y="27165"/>
                  </a:lnTo>
                  <a:lnTo>
                    <a:pt x="292163" y="20205"/>
                  </a:lnTo>
                  <a:close/>
                </a:path>
                <a:path w="720725" h="70484">
                  <a:moveTo>
                    <a:pt x="237718" y="26174"/>
                  </a:moveTo>
                  <a:lnTo>
                    <a:pt x="224040" y="26174"/>
                  </a:lnTo>
                  <a:lnTo>
                    <a:pt x="226580" y="26796"/>
                  </a:lnTo>
                  <a:lnTo>
                    <a:pt x="229374" y="29324"/>
                  </a:lnTo>
                  <a:lnTo>
                    <a:pt x="230111" y="31483"/>
                  </a:lnTo>
                  <a:lnTo>
                    <a:pt x="230174" y="38811"/>
                  </a:lnTo>
                  <a:lnTo>
                    <a:pt x="205727" y="38811"/>
                  </a:lnTo>
                  <a:lnTo>
                    <a:pt x="202425" y="39852"/>
                  </a:lnTo>
                  <a:lnTo>
                    <a:pt x="197713" y="44030"/>
                  </a:lnTo>
                  <a:lnTo>
                    <a:pt x="196532" y="46964"/>
                  </a:lnTo>
                  <a:lnTo>
                    <a:pt x="196532" y="60337"/>
                  </a:lnTo>
                  <a:lnTo>
                    <a:pt x="197827" y="63665"/>
                  </a:lnTo>
                  <a:lnTo>
                    <a:pt x="202996" y="68376"/>
                  </a:lnTo>
                  <a:lnTo>
                    <a:pt x="206514" y="69557"/>
                  </a:lnTo>
                  <a:lnTo>
                    <a:pt x="215011" y="69557"/>
                  </a:lnTo>
                  <a:lnTo>
                    <a:pt x="218782" y="68681"/>
                  </a:lnTo>
                  <a:lnTo>
                    <a:pt x="225742" y="65163"/>
                  </a:lnTo>
                  <a:lnTo>
                    <a:pt x="228650" y="63093"/>
                  </a:lnTo>
                  <a:lnTo>
                    <a:pt x="229367" y="62356"/>
                  </a:lnTo>
                  <a:lnTo>
                    <a:pt x="215239" y="62356"/>
                  </a:lnTo>
                  <a:lnTo>
                    <a:pt x="212661" y="62293"/>
                  </a:lnTo>
                  <a:lnTo>
                    <a:pt x="210070" y="62293"/>
                  </a:lnTo>
                  <a:lnTo>
                    <a:pt x="208165" y="61709"/>
                  </a:lnTo>
                  <a:lnTo>
                    <a:pt x="205701" y="59385"/>
                  </a:lnTo>
                  <a:lnTo>
                    <a:pt x="205105" y="57543"/>
                  </a:lnTo>
                  <a:lnTo>
                    <a:pt x="205105" y="47701"/>
                  </a:lnTo>
                  <a:lnTo>
                    <a:pt x="207225" y="45478"/>
                  </a:lnTo>
                  <a:lnTo>
                    <a:pt x="211467" y="45275"/>
                  </a:lnTo>
                  <a:lnTo>
                    <a:pt x="238633" y="45275"/>
                  </a:lnTo>
                  <a:lnTo>
                    <a:pt x="238633" y="28892"/>
                  </a:lnTo>
                  <a:lnTo>
                    <a:pt x="237718" y="26174"/>
                  </a:lnTo>
                  <a:close/>
                </a:path>
                <a:path w="720725" h="70484">
                  <a:moveTo>
                    <a:pt x="238633" y="60705"/>
                  </a:moveTo>
                  <a:lnTo>
                    <a:pt x="230974" y="60705"/>
                  </a:lnTo>
                  <a:lnTo>
                    <a:pt x="231965" y="68656"/>
                  </a:lnTo>
                  <a:lnTo>
                    <a:pt x="238633" y="68656"/>
                  </a:lnTo>
                  <a:lnTo>
                    <a:pt x="238633" y="60705"/>
                  </a:lnTo>
                  <a:close/>
                </a:path>
                <a:path w="720725" h="70484">
                  <a:moveTo>
                    <a:pt x="238633" y="45275"/>
                  </a:moveTo>
                  <a:lnTo>
                    <a:pt x="230174" y="45275"/>
                  </a:lnTo>
                  <a:lnTo>
                    <a:pt x="230174" y="55029"/>
                  </a:lnTo>
                  <a:lnTo>
                    <a:pt x="227457" y="57416"/>
                  </a:lnTo>
                  <a:lnTo>
                    <a:pt x="224497" y="59245"/>
                  </a:lnTo>
                  <a:lnTo>
                    <a:pt x="218122" y="61760"/>
                  </a:lnTo>
                  <a:lnTo>
                    <a:pt x="215239" y="62356"/>
                  </a:lnTo>
                  <a:lnTo>
                    <a:pt x="229367" y="62356"/>
                  </a:lnTo>
                  <a:lnTo>
                    <a:pt x="230974" y="60705"/>
                  </a:lnTo>
                  <a:lnTo>
                    <a:pt x="238633" y="60705"/>
                  </a:lnTo>
                  <a:lnTo>
                    <a:pt x="238633" y="45275"/>
                  </a:lnTo>
                  <a:close/>
                </a:path>
                <a:path w="720725" h="70484">
                  <a:moveTo>
                    <a:pt x="227749" y="19011"/>
                  </a:moveTo>
                  <a:lnTo>
                    <a:pt x="215480" y="19011"/>
                  </a:lnTo>
                  <a:lnTo>
                    <a:pt x="207645" y="19735"/>
                  </a:lnTo>
                  <a:lnTo>
                    <a:pt x="198628" y="21196"/>
                  </a:lnTo>
                  <a:lnTo>
                    <a:pt x="199428" y="27470"/>
                  </a:lnTo>
                  <a:lnTo>
                    <a:pt x="208648" y="26606"/>
                  </a:lnTo>
                  <a:lnTo>
                    <a:pt x="215607" y="26174"/>
                  </a:lnTo>
                  <a:lnTo>
                    <a:pt x="237718" y="26174"/>
                  </a:lnTo>
                  <a:lnTo>
                    <a:pt x="237286" y="24891"/>
                  </a:lnTo>
                  <a:lnTo>
                    <a:pt x="231914" y="20180"/>
                  </a:lnTo>
                  <a:lnTo>
                    <a:pt x="227749" y="19011"/>
                  </a:lnTo>
                  <a:close/>
                </a:path>
                <a:path w="720725" h="70484">
                  <a:moveTo>
                    <a:pt x="139382" y="20205"/>
                  </a:moveTo>
                  <a:lnTo>
                    <a:pt x="126784" y="20205"/>
                  </a:lnTo>
                  <a:lnTo>
                    <a:pt x="125691" y="21259"/>
                  </a:lnTo>
                  <a:lnTo>
                    <a:pt x="125691" y="23380"/>
                  </a:lnTo>
                  <a:lnTo>
                    <a:pt x="123698" y="68656"/>
                  </a:lnTo>
                  <a:lnTo>
                    <a:pt x="131457" y="68656"/>
                  </a:lnTo>
                  <a:lnTo>
                    <a:pt x="133248" y="26669"/>
                  </a:lnTo>
                  <a:lnTo>
                    <a:pt x="142336" y="26669"/>
                  </a:lnTo>
                  <a:lnTo>
                    <a:pt x="141008" y="22986"/>
                  </a:lnTo>
                  <a:lnTo>
                    <a:pt x="140487" y="21132"/>
                  </a:lnTo>
                  <a:lnTo>
                    <a:pt x="139382" y="20205"/>
                  </a:lnTo>
                  <a:close/>
                </a:path>
                <a:path w="720725" h="70484">
                  <a:moveTo>
                    <a:pt x="182460" y="26669"/>
                  </a:moveTo>
                  <a:lnTo>
                    <a:pt x="174650" y="26669"/>
                  </a:lnTo>
                  <a:lnTo>
                    <a:pt x="176542" y="68656"/>
                  </a:lnTo>
                  <a:lnTo>
                    <a:pt x="184404" y="68656"/>
                  </a:lnTo>
                  <a:lnTo>
                    <a:pt x="182460" y="26669"/>
                  </a:lnTo>
                  <a:close/>
                </a:path>
                <a:path w="720725" h="70484">
                  <a:moveTo>
                    <a:pt x="142336" y="26669"/>
                  </a:moveTo>
                  <a:lnTo>
                    <a:pt x="134937" y="26669"/>
                  </a:lnTo>
                  <a:lnTo>
                    <a:pt x="147281" y="60604"/>
                  </a:lnTo>
                  <a:lnTo>
                    <a:pt x="147878" y="62458"/>
                  </a:lnTo>
                  <a:lnTo>
                    <a:pt x="149009" y="63385"/>
                  </a:lnTo>
                  <a:lnTo>
                    <a:pt x="158889" y="63385"/>
                  </a:lnTo>
                  <a:lnTo>
                    <a:pt x="160020" y="62458"/>
                  </a:lnTo>
                  <a:lnTo>
                    <a:pt x="160616" y="60604"/>
                  </a:lnTo>
                  <a:lnTo>
                    <a:pt x="161632" y="57810"/>
                  </a:lnTo>
                  <a:lnTo>
                    <a:pt x="153149" y="57810"/>
                  </a:lnTo>
                  <a:lnTo>
                    <a:pt x="152425" y="55029"/>
                  </a:lnTo>
                  <a:lnTo>
                    <a:pt x="151726" y="52704"/>
                  </a:lnTo>
                  <a:lnTo>
                    <a:pt x="142336" y="26669"/>
                  </a:lnTo>
                  <a:close/>
                </a:path>
                <a:path w="720725" h="70484">
                  <a:moveTo>
                    <a:pt x="181241" y="20205"/>
                  </a:moveTo>
                  <a:lnTo>
                    <a:pt x="168605" y="20205"/>
                  </a:lnTo>
                  <a:lnTo>
                    <a:pt x="167487" y="21132"/>
                  </a:lnTo>
                  <a:lnTo>
                    <a:pt x="166878" y="22986"/>
                  </a:lnTo>
                  <a:lnTo>
                    <a:pt x="156832" y="50850"/>
                  </a:lnTo>
                  <a:lnTo>
                    <a:pt x="156375" y="52247"/>
                  </a:lnTo>
                  <a:lnTo>
                    <a:pt x="155663" y="54559"/>
                  </a:lnTo>
                  <a:lnTo>
                    <a:pt x="154749" y="57810"/>
                  </a:lnTo>
                  <a:lnTo>
                    <a:pt x="161632" y="57810"/>
                  </a:lnTo>
                  <a:lnTo>
                    <a:pt x="172948" y="26669"/>
                  </a:lnTo>
                  <a:lnTo>
                    <a:pt x="182460" y="26669"/>
                  </a:lnTo>
                  <a:lnTo>
                    <a:pt x="182308" y="23380"/>
                  </a:lnTo>
                  <a:lnTo>
                    <a:pt x="182308" y="21259"/>
                  </a:lnTo>
                  <a:lnTo>
                    <a:pt x="181241" y="20205"/>
                  </a:lnTo>
                  <a:close/>
                </a:path>
                <a:path w="720725" h="70484">
                  <a:moveTo>
                    <a:pt x="108864" y="20205"/>
                  </a:moveTo>
                  <a:lnTo>
                    <a:pt x="84289" y="20205"/>
                  </a:lnTo>
                  <a:lnTo>
                    <a:pt x="81305" y="21132"/>
                  </a:lnTo>
                  <a:lnTo>
                    <a:pt x="77317" y="24841"/>
                  </a:lnTo>
                  <a:lnTo>
                    <a:pt x="76098" y="27698"/>
                  </a:lnTo>
                  <a:lnTo>
                    <a:pt x="75628" y="31546"/>
                  </a:lnTo>
                  <a:lnTo>
                    <a:pt x="74371" y="43751"/>
                  </a:lnTo>
                  <a:lnTo>
                    <a:pt x="72948" y="51879"/>
                  </a:lnTo>
                  <a:lnTo>
                    <a:pt x="62788" y="62699"/>
                  </a:lnTo>
                  <a:lnTo>
                    <a:pt x="63690" y="69164"/>
                  </a:lnTo>
                  <a:lnTo>
                    <a:pt x="83591" y="32931"/>
                  </a:lnTo>
                  <a:lnTo>
                    <a:pt x="83921" y="30683"/>
                  </a:lnTo>
                  <a:lnTo>
                    <a:pt x="84531" y="29108"/>
                  </a:lnTo>
                  <a:lnTo>
                    <a:pt x="86321" y="27317"/>
                  </a:lnTo>
                  <a:lnTo>
                    <a:pt x="87807" y="26873"/>
                  </a:lnTo>
                  <a:lnTo>
                    <a:pt x="108864" y="26873"/>
                  </a:lnTo>
                  <a:lnTo>
                    <a:pt x="108864" y="20205"/>
                  </a:lnTo>
                  <a:close/>
                </a:path>
                <a:path w="720725" h="70484">
                  <a:moveTo>
                    <a:pt x="108864" y="26873"/>
                  </a:moveTo>
                  <a:lnTo>
                    <a:pt x="100406" y="26873"/>
                  </a:lnTo>
                  <a:lnTo>
                    <a:pt x="100406" y="68656"/>
                  </a:lnTo>
                  <a:lnTo>
                    <a:pt x="108864" y="68656"/>
                  </a:lnTo>
                  <a:lnTo>
                    <a:pt x="108864" y="26873"/>
                  </a:lnTo>
                  <a:close/>
                </a:path>
                <a:path w="720725" h="70484">
                  <a:moveTo>
                    <a:pt x="36322" y="0"/>
                  </a:moveTo>
                  <a:lnTo>
                    <a:pt x="23596" y="0"/>
                  </a:lnTo>
                  <a:lnTo>
                    <a:pt x="22491" y="800"/>
                  </a:lnTo>
                  <a:lnTo>
                    <a:pt x="22098" y="2387"/>
                  </a:lnTo>
                  <a:lnTo>
                    <a:pt x="0" y="68656"/>
                  </a:lnTo>
                  <a:lnTo>
                    <a:pt x="9055" y="68656"/>
                  </a:lnTo>
                  <a:lnTo>
                    <a:pt x="15824" y="47167"/>
                  </a:lnTo>
                  <a:lnTo>
                    <a:pt x="52744" y="47167"/>
                  </a:lnTo>
                  <a:lnTo>
                    <a:pt x="50226" y="39611"/>
                  </a:lnTo>
                  <a:lnTo>
                    <a:pt x="18211" y="39611"/>
                  </a:lnTo>
                  <a:lnTo>
                    <a:pt x="26873" y="12344"/>
                  </a:lnTo>
                  <a:lnTo>
                    <a:pt x="28562" y="6769"/>
                  </a:lnTo>
                  <a:lnTo>
                    <a:pt x="39280" y="6769"/>
                  </a:lnTo>
                  <a:lnTo>
                    <a:pt x="37820" y="2387"/>
                  </a:lnTo>
                  <a:lnTo>
                    <a:pt x="37414" y="800"/>
                  </a:lnTo>
                  <a:lnTo>
                    <a:pt x="36322" y="0"/>
                  </a:lnTo>
                  <a:close/>
                </a:path>
                <a:path w="720725" h="70484">
                  <a:moveTo>
                    <a:pt x="52744" y="47167"/>
                  </a:moveTo>
                  <a:lnTo>
                    <a:pt x="44081" y="47167"/>
                  </a:lnTo>
                  <a:lnTo>
                    <a:pt x="50850" y="68656"/>
                  </a:lnTo>
                  <a:lnTo>
                    <a:pt x="59905" y="68656"/>
                  </a:lnTo>
                  <a:lnTo>
                    <a:pt x="52744" y="47167"/>
                  </a:lnTo>
                  <a:close/>
                </a:path>
                <a:path w="720725" h="70484">
                  <a:moveTo>
                    <a:pt x="39280" y="6769"/>
                  </a:moveTo>
                  <a:lnTo>
                    <a:pt x="31343" y="6769"/>
                  </a:lnTo>
                  <a:lnTo>
                    <a:pt x="31877" y="8762"/>
                  </a:lnTo>
                  <a:lnTo>
                    <a:pt x="32448" y="10617"/>
                  </a:lnTo>
                  <a:lnTo>
                    <a:pt x="33045" y="12344"/>
                  </a:lnTo>
                  <a:lnTo>
                    <a:pt x="41694" y="39611"/>
                  </a:lnTo>
                  <a:lnTo>
                    <a:pt x="50226" y="39611"/>
                  </a:lnTo>
                  <a:lnTo>
                    <a:pt x="39280" y="6769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2" name="object 25"/>
            <p:cNvSpPr/>
            <p:nvPr/>
          </p:nvSpPr>
          <p:spPr>
            <a:xfrm>
              <a:off x="1360937" y="560377"/>
              <a:ext cx="563880" cy="89535"/>
            </a:xfrm>
            <a:custGeom>
              <a:avLst/>
              <a:gdLst/>
              <a:ahLst/>
              <a:cxnLst/>
              <a:rect l="l" t="t" r="r" b="b"/>
              <a:pathLst>
                <a:path w="563880" h="89534">
                  <a:moveTo>
                    <a:pt x="515556" y="20802"/>
                  </a:moveTo>
                  <a:lnTo>
                    <a:pt x="507301" y="20802"/>
                  </a:lnTo>
                  <a:lnTo>
                    <a:pt x="507301" y="69265"/>
                  </a:lnTo>
                  <a:lnTo>
                    <a:pt x="507606" y="69265"/>
                  </a:lnTo>
                  <a:lnTo>
                    <a:pt x="512698" y="69659"/>
                  </a:lnTo>
                  <a:lnTo>
                    <a:pt x="519607" y="69862"/>
                  </a:lnTo>
                  <a:lnTo>
                    <a:pt x="534733" y="69862"/>
                  </a:lnTo>
                  <a:lnTo>
                    <a:pt x="539280" y="68783"/>
                  </a:lnTo>
                  <a:lnTo>
                    <a:pt x="544588" y="64465"/>
                  </a:lnTo>
                  <a:lnTo>
                    <a:pt x="545012" y="63195"/>
                  </a:lnTo>
                  <a:lnTo>
                    <a:pt x="526999" y="63195"/>
                  </a:lnTo>
                  <a:lnTo>
                    <a:pt x="515556" y="63093"/>
                  </a:lnTo>
                  <a:lnTo>
                    <a:pt x="515556" y="45885"/>
                  </a:lnTo>
                  <a:lnTo>
                    <a:pt x="544825" y="45885"/>
                  </a:lnTo>
                  <a:lnTo>
                    <a:pt x="544550" y="45085"/>
                  </a:lnTo>
                  <a:lnTo>
                    <a:pt x="539102" y="40703"/>
                  </a:lnTo>
                  <a:lnTo>
                    <a:pt x="534162" y="39611"/>
                  </a:lnTo>
                  <a:lnTo>
                    <a:pt x="515556" y="39611"/>
                  </a:lnTo>
                  <a:lnTo>
                    <a:pt x="515556" y="20802"/>
                  </a:lnTo>
                  <a:close/>
                </a:path>
                <a:path w="563880" h="89534">
                  <a:moveTo>
                    <a:pt x="544825" y="45885"/>
                  </a:moveTo>
                  <a:lnTo>
                    <a:pt x="530987" y="45885"/>
                  </a:lnTo>
                  <a:lnTo>
                    <a:pt x="533704" y="46494"/>
                  </a:lnTo>
                  <a:lnTo>
                    <a:pt x="536625" y="48945"/>
                  </a:lnTo>
                  <a:lnTo>
                    <a:pt x="537349" y="51193"/>
                  </a:lnTo>
                  <a:lnTo>
                    <a:pt x="537349" y="57950"/>
                  </a:lnTo>
                  <a:lnTo>
                    <a:pt x="536600" y="60286"/>
                  </a:lnTo>
                  <a:lnTo>
                    <a:pt x="533615" y="62611"/>
                  </a:lnTo>
                  <a:lnTo>
                    <a:pt x="530910" y="63195"/>
                  </a:lnTo>
                  <a:lnTo>
                    <a:pt x="545012" y="63195"/>
                  </a:lnTo>
                  <a:lnTo>
                    <a:pt x="545909" y="60502"/>
                  </a:lnTo>
                  <a:lnTo>
                    <a:pt x="545878" y="48945"/>
                  </a:lnTo>
                  <a:lnTo>
                    <a:pt x="544825" y="45885"/>
                  </a:lnTo>
                  <a:close/>
                </a:path>
                <a:path w="563880" h="89534">
                  <a:moveTo>
                    <a:pt x="563321" y="20802"/>
                  </a:moveTo>
                  <a:lnTo>
                    <a:pt x="554761" y="20802"/>
                  </a:lnTo>
                  <a:lnTo>
                    <a:pt x="554761" y="69265"/>
                  </a:lnTo>
                  <a:lnTo>
                    <a:pt x="563321" y="69265"/>
                  </a:lnTo>
                  <a:lnTo>
                    <a:pt x="563321" y="20802"/>
                  </a:lnTo>
                  <a:close/>
                </a:path>
                <a:path w="563880" h="89534">
                  <a:moveTo>
                    <a:pt x="485406" y="19608"/>
                  </a:moveTo>
                  <a:lnTo>
                    <a:pt x="470674" y="19608"/>
                  </a:lnTo>
                  <a:lnTo>
                    <a:pt x="464756" y="21513"/>
                  </a:lnTo>
                  <a:lnTo>
                    <a:pt x="457796" y="29146"/>
                  </a:lnTo>
                  <a:lnTo>
                    <a:pt x="456044" y="35699"/>
                  </a:lnTo>
                  <a:lnTo>
                    <a:pt x="456044" y="54343"/>
                  </a:lnTo>
                  <a:lnTo>
                    <a:pt x="457771" y="60921"/>
                  </a:lnTo>
                  <a:lnTo>
                    <a:pt x="464680" y="68554"/>
                  </a:lnTo>
                  <a:lnTo>
                    <a:pt x="470611" y="70459"/>
                  </a:lnTo>
                  <a:lnTo>
                    <a:pt x="485343" y="70459"/>
                  </a:lnTo>
                  <a:lnTo>
                    <a:pt x="490842" y="69634"/>
                  </a:lnTo>
                  <a:lnTo>
                    <a:pt x="495553" y="67970"/>
                  </a:lnTo>
                  <a:lnTo>
                    <a:pt x="494904" y="63296"/>
                  </a:lnTo>
                  <a:lnTo>
                    <a:pt x="474586" y="63296"/>
                  </a:lnTo>
                  <a:lnTo>
                    <a:pt x="470547" y="62001"/>
                  </a:lnTo>
                  <a:lnTo>
                    <a:pt x="466039" y="56819"/>
                  </a:lnTo>
                  <a:lnTo>
                    <a:pt x="464908" y="52006"/>
                  </a:lnTo>
                  <a:lnTo>
                    <a:pt x="464908" y="38011"/>
                  </a:lnTo>
                  <a:lnTo>
                    <a:pt x="466051" y="33235"/>
                  </a:lnTo>
                  <a:lnTo>
                    <a:pt x="470623" y="28067"/>
                  </a:lnTo>
                  <a:lnTo>
                    <a:pt x="474662" y="26771"/>
                  </a:lnTo>
                  <a:lnTo>
                    <a:pt x="493690" y="26771"/>
                  </a:lnTo>
                  <a:lnTo>
                    <a:pt x="494652" y="21894"/>
                  </a:lnTo>
                  <a:lnTo>
                    <a:pt x="490613" y="20370"/>
                  </a:lnTo>
                  <a:lnTo>
                    <a:pt x="485406" y="19608"/>
                  </a:lnTo>
                  <a:close/>
                </a:path>
                <a:path w="563880" h="89534">
                  <a:moveTo>
                    <a:pt x="494766" y="62306"/>
                  </a:moveTo>
                  <a:lnTo>
                    <a:pt x="490575" y="62953"/>
                  </a:lnTo>
                  <a:lnTo>
                    <a:pt x="485800" y="63296"/>
                  </a:lnTo>
                  <a:lnTo>
                    <a:pt x="494904" y="63296"/>
                  </a:lnTo>
                  <a:lnTo>
                    <a:pt x="494766" y="62306"/>
                  </a:lnTo>
                  <a:close/>
                </a:path>
                <a:path w="563880" h="89534">
                  <a:moveTo>
                    <a:pt x="493690" y="26771"/>
                  </a:moveTo>
                  <a:lnTo>
                    <a:pt x="484809" y="26771"/>
                  </a:lnTo>
                  <a:lnTo>
                    <a:pt x="489191" y="26974"/>
                  </a:lnTo>
                  <a:lnTo>
                    <a:pt x="493572" y="27368"/>
                  </a:lnTo>
                  <a:lnTo>
                    <a:pt x="493690" y="26771"/>
                  </a:lnTo>
                  <a:close/>
                </a:path>
                <a:path w="563880" h="89534">
                  <a:moveTo>
                    <a:pt x="441995" y="26771"/>
                  </a:moveTo>
                  <a:lnTo>
                    <a:pt x="428320" y="26771"/>
                  </a:lnTo>
                  <a:lnTo>
                    <a:pt x="430872" y="27393"/>
                  </a:lnTo>
                  <a:lnTo>
                    <a:pt x="433666" y="29921"/>
                  </a:lnTo>
                  <a:lnTo>
                    <a:pt x="434390" y="32080"/>
                  </a:lnTo>
                  <a:lnTo>
                    <a:pt x="434454" y="39408"/>
                  </a:lnTo>
                  <a:lnTo>
                    <a:pt x="410006" y="39408"/>
                  </a:lnTo>
                  <a:lnTo>
                    <a:pt x="406717" y="40449"/>
                  </a:lnTo>
                  <a:lnTo>
                    <a:pt x="402005" y="44627"/>
                  </a:lnTo>
                  <a:lnTo>
                    <a:pt x="400824" y="47574"/>
                  </a:lnTo>
                  <a:lnTo>
                    <a:pt x="400824" y="60934"/>
                  </a:lnTo>
                  <a:lnTo>
                    <a:pt x="402120" y="64274"/>
                  </a:lnTo>
                  <a:lnTo>
                    <a:pt x="407289" y="68973"/>
                  </a:lnTo>
                  <a:lnTo>
                    <a:pt x="410806" y="70154"/>
                  </a:lnTo>
                  <a:lnTo>
                    <a:pt x="419290" y="70154"/>
                  </a:lnTo>
                  <a:lnTo>
                    <a:pt x="423087" y="69265"/>
                  </a:lnTo>
                  <a:lnTo>
                    <a:pt x="430034" y="65760"/>
                  </a:lnTo>
                  <a:lnTo>
                    <a:pt x="432930" y="63690"/>
                  </a:lnTo>
                  <a:lnTo>
                    <a:pt x="433647" y="62953"/>
                  </a:lnTo>
                  <a:lnTo>
                    <a:pt x="419531" y="62953"/>
                  </a:lnTo>
                  <a:lnTo>
                    <a:pt x="416941" y="62890"/>
                  </a:lnTo>
                  <a:lnTo>
                    <a:pt x="414362" y="62890"/>
                  </a:lnTo>
                  <a:lnTo>
                    <a:pt x="412445" y="62306"/>
                  </a:lnTo>
                  <a:lnTo>
                    <a:pt x="409994" y="59994"/>
                  </a:lnTo>
                  <a:lnTo>
                    <a:pt x="409384" y="58153"/>
                  </a:lnTo>
                  <a:lnTo>
                    <a:pt x="409384" y="48298"/>
                  </a:lnTo>
                  <a:lnTo>
                    <a:pt x="411505" y="46075"/>
                  </a:lnTo>
                  <a:lnTo>
                    <a:pt x="415747" y="45885"/>
                  </a:lnTo>
                  <a:lnTo>
                    <a:pt x="442912" y="45885"/>
                  </a:lnTo>
                  <a:lnTo>
                    <a:pt x="442912" y="29489"/>
                  </a:lnTo>
                  <a:lnTo>
                    <a:pt x="441995" y="26771"/>
                  </a:lnTo>
                  <a:close/>
                </a:path>
                <a:path w="563880" h="89534">
                  <a:moveTo>
                    <a:pt x="442912" y="61302"/>
                  </a:moveTo>
                  <a:lnTo>
                    <a:pt x="435254" y="61302"/>
                  </a:lnTo>
                  <a:lnTo>
                    <a:pt x="436245" y="69265"/>
                  </a:lnTo>
                  <a:lnTo>
                    <a:pt x="442912" y="69265"/>
                  </a:lnTo>
                  <a:lnTo>
                    <a:pt x="442912" y="61302"/>
                  </a:lnTo>
                  <a:close/>
                </a:path>
                <a:path w="563880" h="89534">
                  <a:moveTo>
                    <a:pt x="442912" y="45885"/>
                  </a:moveTo>
                  <a:lnTo>
                    <a:pt x="434454" y="45885"/>
                  </a:lnTo>
                  <a:lnTo>
                    <a:pt x="434454" y="55638"/>
                  </a:lnTo>
                  <a:lnTo>
                    <a:pt x="431736" y="58026"/>
                  </a:lnTo>
                  <a:lnTo>
                    <a:pt x="428777" y="59842"/>
                  </a:lnTo>
                  <a:lnTo>
                    <a:pt x="422414" y="62357"/>
                  </a:lnTo>
                  <a:lnTo>
                    <a:pt x="419531" y="62953"/>
                  </a:lnTo>
                  <a:lnTo>
                    <a:pt x="433647" y="62953"/>
                  </a:lnTo>
                  <a:lnTo>
                    <a:pt x="435254" y="61302"/>
                  </a:lnTo>
                  <a:lnTo>
                    <a:pt x="442912" y="61302"/>
                  </a:lnTo>
                  <a:lnTo>
                    <a:pt x="442912" y="45885"/>
                  </a:lnTo>
                  <a:close/>
                </a:path>
                <a:path w="563880" h="89534">
                  <a:moveTo>
                    <a:pt x="432028" y="19608"/>
                  </a:moveTo>
                  <a:lnTo>
                    <a:pt x="419760" y="19608"/>
                  </a:lnTo>
                  <a:lnTo>
                    <a:pt x="411937" y="20332"/>
                  </a:lnTo>
                  <a:lnTo>
                    <a:pt x="402907" y="21793"/>
                  </a:lnTo>
                  <a:lnTo>
                    <a:pt x="403707" y="28067"/>
                  </a:lnTo>
                  <a:lnTo>
                    <a:pt x="412927" y="27203"/>
                  </a:lnTo>
                  <a:lnTo>
                    <a:pt x="419900" y="26771"/>
                  </a:lnTo>
                  <a:lnTo>
                    <a:pt x="441995" y="26771"/>
                  </a:lnTo>
                  <a:lnTo>
                    <a:pt x="441566" y="25501"/>
                  </a:lnTo>
                  <a:lnTo>
                    <a:pt x="436194" y="20777"/>
                  </a:lnTo>
                  <a:lnTo>
                    <a:pt x="432028" y="19608"/>
                  </a:lnTo>
                  <a:close/>
                </a:path>
                <a:path w="563880" h="89534">
                  <a:moveTo>
                    <a:pt x="343674" y="20802"/>
                  </a:moveTo>
                  <a:lnTo>
                    <a:pt x="331063" y="20802"/>
                  </a:lnTo>
                  <a:lnTo>
                    <a:pt x="329971" y="21856"/>
                  </a:lnTo>
                  <a:lnTo>
                    <a:pt x="329971" y="23977"/>
                  </a:lnTo>
                  <a:lnTo>
                    <a:pt x="327977" y="69265"/>
                  </a:lnTo>
                  <a:lnTo>
                    <a:pt x="335737" y="69265"/>
                  </a:lnTo>
                  <a:lnTo>
                    <a:pt x="337527" y="27266"/>
                  </a:lnTo>
                  <a:lnTo>
                    <a:pt x="346627" y="27266"/>
                  </a:lnTo>
                  <a:lnTo>
                    <a:pt x="345300" y="23583"/>
                  </a:lnTo>
                  <a:lnTo>
                    <a:pt x="344766" y="21729"/>
                  </a:lnTo>
                  <a:lnTo>
                    <a:pt x="343674" y="20802"/>
                  </a:lnTo>
                  <a:close/>
                </a:path>
                <a:path w="563880" h="89534">
                  <a:moveTo>
                    <a:pt x="386740" y="27266"/>
                  </a:moveTo>
                  <a:lnTo>
                    <a:pt x="378929" y="27266"/>
                  </a:lnTo>
                  <a:lnTo>
                    <a:pt x="380822" y="69265"/>
                  </a:lnTo>
                  <a:lnTo>
                    <a:pt x="388683" y="69265"/>
                  </a:lnTo>
                  <a:lnTo>
                    <a:pt x="386740" y="27266"/>
                  </a:lnTo>
                  <a:close/>
                </a:path>
                <a:path w="563880" h="89534">
                  <a:moveTo>
                    <a:pt x="346627" y="27266"/>
                  </a:moveTo>
                  <a:lnTo>
                    <a:pt x="339229" y="27266"/>
                  </a:lnTo>
                  <a:lnTo>
                    <a:pt x="351561" y="61201"/>
                  </a:lnTo>
                  <a:lnTo>
                    <a:pt x="352158" y="63068"/>
                  </a:lnTo>
                  <a:lnTo>
                    <a:pt x="353288" y="63982"/>
                  </a:lnTo>
                  <a:lnTo>
                    <a:pt x="363169" y="63982"/>
                  </a:lnTo>
                  <a:lnTo>
                    <a:pt x="364299" y="63068"/>
                  </a:lnTo>
                  <a:lnTo>
                    <a:pt x="364896" y="61201"/>
                  </a:lnTo>
                  <a:lnTo>
                    <a:pt x="365908" y="58420"/>
                  </a:lnTo>
                  <a:lnTo>
                    <a:pt x="357441" y="58420"/>
                  </a:lnTo>
                  <a:lnTo>
                    <a:pt x="356704" y="55638"/>
                  </a:lnTo>
                  <a:lnTo>
                    <a:pt x="356006" y="53301"/>
                  </a:lnTo>
                  <a:lnTo>
                    <a:pt x="346627" y="27266"/>
                  </a:lnTo>
                  <a:close/>
                </a:path>
                <a:path w="563880" h="89534">
                  <a:moveTo>
                    <a:pt x="385533" y="20802"/>
                  </a:moveTo>
                  <a:lnTo>
                    <a:pt x="372897" y="20802"/>
                  </a:lnTo>
                  <a:lnTo>
                    <a:pt x="371767" y="21729"/>
                  </a:lnTo>
                  <a:lnTo>
                    <a:pt x="371170" y="23583"/>
                  </a:lnTo>
                  <a:lnTo>
                    <a:pt x="361111" y="51447"/>
                  </a:lnTo>
                  <a:lnTo>
                    <a:pt x="360654" y="52844"/>
                  </a:lnTo>
                  <a:lnTo>
                    <a:pt x="359956" y="55168"/>
                  </a:lnTo>
                  <a:lnTo>
                    <a:pt x="359029" y="58420"/>
                  </a:lnTo>
                  <a:lnTo>
                    <a:pt x="365908" y="58420"/>
                  </a:lnTo>
                  <a:lnTo>
                    <a:pt x="377240" y="27266"/>
                  </a:lnTo>
                  <a:lnTo>
                    <a:pt x="386740" y="27266"/>
                  </a:lnTo>
                  <a:lnTo>
                    <a:pt x="386588" y="23977"/>
                  </a:lnTo>
                  <a:lnTo>
                    <a:pt x="386461" y="21729"/>
                  </a:lnTo>
                  <a:lnTo>
                    <a:pt x="385533" y="20802"/>
                  </a:lnTo>
                  <a:close/>
                </a:path>
                <a:path w="563880" h="89534">
                  <a:moveTo>
                    <a:pt x="277926" y="20802"/>
                  </a:moveTo>
                  <a:lnTo>
                    <a:pt x="271068" y="20802"/>
                  </a:lnTo>
                  <a:lnTo>
                    <a:pt x="271068" y="89268"/>
                  </a:lnTo>
                  <a:lnTo>
                    <a:pt x="279425" y="89268"/>
                  </a:lnTo>
                  <a:lnTo>
                    <a:pt x="279425" y="75234"/>
                  </a:lnTo>
                  <a:lnTo>
                    <a:pt x="279488" y="68262"/>
                  </a:lnTo>
                  <a:lnTo>
                    <a:pt x="279222" y="65481"/>
                  </a:lnTo>
                  <a:lnTo>
                    <a:pt x="310492" y="65481"/>
                  </a:lnTo>
                  <a:lnTo>
                    <a:pt x="312319" y="63093"/>
                  </a:lnTo>
                  <a:lnTo>
                    <a:pt x="291363" y="63093"/>
                  </a:lnTo>
                  <a:lnTo>
                    <a:pt x="286181" y="62090"/>
                  </a:lnTo>
                  <a:lnTo>
                    <a:pt x="279425" y="60109"/>
                  </a:lnTo>
                  <a:lnTo>
                    <a:pt x="279425" y="34429"/>
                  </a:lnTo>
                  <a:lnTo>
                    <a:pt x="286054" y="29464"/>
                  </a:lnTo>
                  <a:lnTo>
                    <a:pt x="288060" y="28562"/>
                  </a:lnTo>
                  <a:lnTo>
                    <a:pt x="278625" y="28562"/>
                  </a:lnTo>
                  <a:lnTo>
                    <a:pt x="277926" y="20802"/>
                  </a:lnTo>
                  <a:close/>
                </a:path>
                <a:path w="563880" h="89534">
                  <a:moveTo>
                    <a:pt x="310492" y="65481"/>
                  </a:moveTo>
                  <a:lnTo>
                    <a:pt x="279222" y="65481"/>
                  </a:lnTo>
                  <a:lnTo>
                    <a:pt x="284657" y="68795"/>
                  </a:lnTo>
                  <a:lnTo>
                    <a:pt x="290639" y="70459"/>
                  </a:lnTo>
                  <a:lnTo>
                    <a:pt x="303504" y="70459"/>
                  </a:lnTo>
                  <a:lnTo>
                    <a:pt x="308140" y="68554"/>
                  </a:lnTo>
                  <a:lnTo>
                    <a:pt x="310492" y="65481"/>
                  </a:lnTo>
                  <a:close/>
                </a:path>
                <a:path w="563880" h="89534">
                  <a:moveTo>
                    <a:pt x="312090" y="26974"/>
                  </a:moveTo>
                  <a:lnTo>
                    <a:pt x="299885" y="26974"/>
                  </a:lnTo>
                  <a:lnTo>
                    <a:pt x="302615" y="28333"/>
                  </a:lnTo>
                  <a:lnTo>
                    <a:pt x="305879" y="33769"/>
                  </a:lnTo>
                  <a:lnTo>
                    <a:pt x="306692" y="38506"/>
                  </a:lnTo>
                  <a:lnTo>
                    <a:pt x="306692" y="52247"/>
                  </a:lnTo>
                  <a:lnTo>
                    <a:pt x="305828" y="56959"/>
                  </a:lnTo>
                  <a:lnTo>
                    <a:pt x="302374" y="61861"/>
                  </a:lnTo>
                  <a:lnTo>
                    <a:pt x="299326" y="63093"/>
                  </a:lnTo>
                  <a:lnTo>
                    <a:pt x="312319" y="63093"/>
                  </a:lnTo>
                  <a:lnTo>
                    <a:pt x="313982" y="60921"/>
                  </a:lnTo>
                  <a:lnTo>
                    <a:pt x="315442" y="54432"/>
                  </a:lnTo>
                  <a:lnTo>
                    <a:pt x="315442" y="36652"/>
                  </a:lnTo>
                  <a:lnTo>
                    <a:pt x="314121" y="30226"/>
                  </a:lnTo>
                  <a:lnTo>
                    <a:pt x="312090" y="26974"/>
                  </a:lnTo>
                  <a:close/>
                </a:path>
                <a:path w="563880" h="89534">
                  <a:moveTo>
                    <a:pt x="304558" y="19608"/>
                  </a:moveTo>
                  <a:lnTo>
                    <a:pt x="295211" y="19608"/>
                  </a:lnTo>
                  <a:lnTo>
                    <a:pt x="291642" y="20408"/>
                  </a:lnTo>
                  <a:lnTo>
                    <a:pt x="284416" y="23583"/>
                  </a:lnTo>
                  <a:lnTo>
                    <a:pt x="281279" y="25781"/>
                  </a:lnTo>
                  <a:lnTo>
                    <a:pt x="278625" y="28562"/>
                  </a:lnTo>
                  <a:lnTo>
                    <a:pt x="288060" y="28562"/>
                  </a:lnTo>
                  <a:lnTo>
                    <a:pt x="291591" y="26974"/>
                  </a:lnTo>
                  <a:lnTo>
                    <a:pt x="312090" y="26974"/>
                  </a:lnTo>
                  <a:lnTo>
                    <a:pt x="308813" y="21729"/>
                  </a:lnTo>
                  <a:lnTo>
                    <a:pt x="304558" y="19608"/>
                  </a:lnTo>
                  <a:close/>
                </a:path>
                <a:path w="563880" h="89534">
                  <a:moveTo>
                    <a:pt x="254619" y="26771"/>
                  </a:moveTo>
                  <a:lnTo>
                    <a:pt x="240944" y="26771"/>
                  </a:lnTo>
                  <a:lnTo>
                    <a:pt x="243497" y="27393"/>
                  </a:lnTo>
                  <a:lnTo>
                    <a:pt x="246278" y="29921"/>
                  </a:lnTo>
                  <a:lnTo>
                    <a:pt x="247015" y="32080"/>
                  </a:lnTo>
                  <a:lnTo>
                    <a:pt x="247078" y="39408"/>
                  </a:lnTo>
                  <a:lnTo>
                    <a:pt x="222630" y="39408"/>
                  </a:lnTo>
                  <a:lnTo>
                    <a:pt x="219329" y="40449"/>
                  </a:lnTo>
                  <a:lnTo>
                    <a:pt x="214617" y="44627"/>
                  </a:lnTo>
                  <a:lnTo>
                    <a:pt x="213436" y="47574"/>
                  </a:lnTo>
                  <a:lnTo>
                    <a:pt x="213436" y="60934"/>
                  </a:lnTo>
                  <a:lnTo>
                    <a:pt x="214731" y="64274"/>
                  </a:lnTo>
                  <a:lnTo>
                    <a:pt x="219913" y="68973"/>
                  </a:lnTo>
                  <a:lnTo>
                    <a:pt x="223431" y="70154"/>
                  </a:lnTo>
                  <a:lnTo>
                    <a:pt x="231927" y="70154"/>
                  </a:lnTo>
                  <a:lnTo>
                    <a:pt x="235711" y="69265"/>
                  </a:lnTo>
                  <a:lnTo>
                    <a:pt x="242646" y="65760"/>
                  </a:lnTo>
                  <a:lnTo>
                    <a:pt x="245554" y="63690"/>
                  </a:lnTo>
                  <a:lnTo>
                    <a:pt x="246271" y="62953"/>
                  </a:lnTo>
                  <a:lnTo>
                    <a:pt x="232155" y="62953"/>
                  </a:lnTo>
                  <a:lnTo>
                    <a:pt x="229565" y="62890"/>
                  </a:lnTo>
                  <a:lnTo>
                    <a:pt x="226974" y="62890"/>
                  </a:lnTo>
                  <a:lnTo>
                    <a:pt x="225069" y="62306"/>
                  </a:lnTo>
                  <a:lnTo>
                    <a:pt x="222618" y="59994"/>
                  </a:lnTo>
                  <a:lnTo>
                    <a:pt x="222008" y="58153"/>
                  </a:lnTo>
                  <a:lnTo>
                    <a:pt x="222008" y="48298"/>
                  </a:lnTo>
                  <a:lnTo>
                    <a:pt x="224129" y="46075"/>
                  </a:lnTo>
                  <a:lnTo>
                    <a:pt x="228371" y="45885"/>
                  </a:lnTo>
                  <a:lnTo>
                    <a:pt x="255536" y="45885"/>
                  </a:lnTo>
                  <a:lnTo>
                    <a:pt x="255536" y="29489"/>
                  </a:lnTo>
                  <a:lnTo>
                    <a:pt x="254619" y="26771"/>
                  </a:lnTo>
                  <a:close/>
                </a:path>
                <a:path w="563880" h="89534">
                  <a:moveTo>
                    <a:pt x="255536" y="61302"/>
                  </a:moveTo>
                  <a:lnTo>
                    <a:pt x="247878" y="61302"/>
                  </a:lnTo>
                  <a:lnTo>
                    <a:pt x="248869" y="69265"/>
                  </a:lnTo>
                  <a:lnTo>
                    <a:pt x="255536" y="69265"/>
                  </a:lnTo>
                  <a:lnTo>
                    <a:pt x="255536" y="61302"/>
                  </a:lnTo>
                  <a:close/>
                </a:path>
                <a:path w="563880" h="89534">
                  <a:moveTo>
                    <a:pt x="255536" y="45885"/>
                  </a:moveTo>
                  <a:lnTo>
                    <a:pt x="247078" y="45885"/>
                  </a:lnTo>
                  <a:lnTo>
                    <a:pt x="247078" y="55638"/>
                  </a:lnTo>
                  <a:lnTo>
                    <a:pt x="244360" y="58026"/>
                  </a:lnTo>
                  <a:lnTo>
                    <a:pt x="241414" y="59842"/>
                  </a:lnTo>
                  <a:lnTo>
                    <a:pt x="235038" y="62357"/>
                  </a:lnTo>
                  <a:lnTo>
                    <a:pt x="232155" y="62953"/>
                  </a:lnTo>
                  <a:lnTo>
                    <a:pt x="246271" y="62953"/>
                  </a:lnTo>
                  <a:lnTo>
                    <a:pt x="247878" y="61302"/>
                  </a:lnTo>
                  <a:lnTo>
                    <a:pt x="255536" y="61302"/>
                  </a:lnTo>
                  <a:lnTo>
                    <a:pt x="255536" y="45885"/>
                  </a:lnTo>
                  <a:close/>
                </a:path>
                <a:path w="563880" h="89534">
                  <a:moveTo>
                    <a:pt x="244652" y="19608"/>
                  </a:moveTo>
                  <a:lnTo>
                    <a:pt x="232384" y="19608"/>
                  </a:lnTo>
                  <a:lnTo>
                    <a:pt x="224561" y="20332"/>
                  </a:lnTo>
                  <a:lnTo>
                    <a:pt x="215531" y="21793"/>
                  </a:lnTo>
                  <a:lnTo>
                    <a:pt x="216331" y="28067"/>
                  </a:lnTo>
                  <a:lnTo>
                    <a:pt x="225551" y="27203"/>
                  </a:lnTo>
                  <a:lnTo>
                    <a:pt x="232511" y="26771"/>
                  </a:lnTo>
                  <a:lnTo>
                    <a:pt x="254619" y="26771"/>
                  </a:lnTo>
                  <a:lnTo>
                    <a:pt x="254190" y="25501"/>
                  </a:lnTo>
                  <a:lnTo>
                    <a:pt x="248818" y="20777"/>
                  </a:lnTo>
                  <a:lnTo>
                    <a:pt x="244652" y="19608"/>
                  </a:lnTo>
                  <a:close/>
                </a:path>
                <a:path w="563880" h="89534">
                  <a:moveTo>
                    <a:pt x="171157" y="20802"/>
                  </a:moveTo>
                  <a:lnTo>
                    <a:pt x="162699" y="20802"/>
                  </a:lnTo>
                  <a:lnTo>
                    <a:pt x="162699" y="69265"/>
                  </a:lnTo>
                  <a:lnTo>
                    <a:pt x="171157" y="69265"/>
                  </a:lnTo>
                  <a:lnTo>
                    <a:pt x="171032" y="49657"/>
                  </a:lnTo>
                  <a:lnTo>
                    <a:pt x="170751" y="47371"/>
                  </a:lnTo>
                  <a:lnTo>
                    <a:pt x="193446" y="47371"/>
                  </a:lnTo>
                  <a:lnTo>
                    <a:pt x="184886" y="44183"/>
                  </a:lnTo>
                  <a:lnTo>
                    <a:pt x="184886" y="43891"/>
                  </a:lnTo>
                  <a:lnTo>
                    <a:pt x="192781" y="40805"/>
                  </a:lnTo>
                  <a:lnTo>
                    <a:pt x="170649" y="40805"/>
                  </a:lnTo>
                  <a:lnTo>
                    <a:pt x="170992" y="38811"/>
                  </a:lnTo>
                  <a:lnTo>
                    <a:pt x="171118" y="37401"/>
                  </a:lnTo>
                  <a:lnTo>
                    <a:pt x="171157" y="20802"/>
                  </a:lnTo>
                  <a:close/>
                </a:path>
                <a:path w="563880" h="89534">
                  <a:moveTo>
                    <a:pt x="193446" y="47371"/>
                  </a:moveTo>
                  <a:lnTo>
                    <a:pt x="179311" y="47371"/>
                  </a:lnTo>
                  <a:lnTo>
                    <a:pt x="180581" y="47548"/>
                  </a:lnTo>
                  <a:lnTo>
                    <a:pt x="182829" y="48285"/>
                  </a:lnTo>
                  <a:lnTo>
                    <a:pt x="195935" y="69265"/>
                  </a:lnTo>
                  <a:lnTo>
                    <a:pt x="204787" y="69265"/>
                  </a:lnTo>
                  <a:lnTo>
                    <a:pt x="194741" y="48590"/>
                  </a:lnTo>
                  <a:lnTo>
                    <a:pt x="193446" y="47371"/>
                  </a:lnTo>
                  <a:close/>
                </a:path>
                <a:path w="563880" h="89534">
                  <a:moveTo>
                    <a:pt x="203390" y="20802"/>
                  </a:moveTo>
                  <a:lnTo>
                    <a:pt x="194640" y="20802"/>
                  </a:lnTo>
                  <a:lnTo>
                    <a:pt x="193243" y="24650"/>
                  </a:lnTo>
                  <a:lnTo>
                    <a:pt x="192112" y="27533"/>
                  </a:lnTo>
                  <a:lnTo>
                    <a:pt x="179743" y="40805"/>
                  </a:lnTo>
                  <a:lnTo>
                    <a:pt x="192781" y="40805"/>
                  </a:lnTo>
                  <a:lnTo>
                    <a:pt x="195567" y="38087"/>
                  </a:lnTo>
                  <a:lnTo>
                    <a:pt x="196164" y="37185"/>
                  </a:lnTo>
                  <a:lnTo>
                    <a:pt x="198018" y="33693"/>
                  </a:lnTo>
                  <a:lnTo>
                    <a:pt x="198818" y="32296"/>
                  </a:lnTo>
                  <a:lnTo>
                    <a:pt x="199364" y="31076"/>
                  </a:lnTo>
                  <a:lnTo>
                    <a:pt x="202018" y="24536"/>
                  </a:lnTo>
                  <a:lnTo>
                    <a:pt x="202603" y="22987"/>
                  </a:lnTo>
                  <a:lnTo>
                    <a:pt x="203390" y="20802"/>
                  </a:lnTo>
                  <a:close/>
                </a:path>
                <a:path w="563880" h="89534">
                  <a:moveTo>
                    <a:pt x="140804" y="19608"/>
                  </a:moveTo>
                  <a:lnTo>
                    <a:pt x="126072" y="19608"/>
                  </a:lnTo>
                  <a:lnTo>
                    <a:pt x="120154" y="21513"/>
                  </a:lnTo>
                  <a:lnTo>
                    <a:pt x="113182" y="29146"/>
                  </a:lnTo>
                  <a:lnTo>
                    <a:pt x="111455" y="35699"/>
                  </a:lnTo>
                  <a:lnTo>
                    <a:pt x="111455" y="54343"/>
                  </a:lnTo>
                  <a:lnTo>
                    <a:pt x="113169" y="60921"/>
                  </a:lnTo>
                  <a:lnTo>
                    <a:pt x="120065" y="68554"/>
                  </a:lnTo>
                  <a:lnTo>
                    <a:pt x="126009" y="70459"/>
                  </a:lnTo>
                  <a:lnTo>
                    <a:pt x="140741" y="70459"/>
                  </a:lnTo>
                  <a:lnTo>
                    <a:pt x="146240" y="69634"/>
                  </a:lnTo>
                  <a:lnTo>
                    <a:pt x="150952" y="67970"/>
                  </a:lnTo>
                  <a:lnTo>
                    <a:pt x="150302" y="63296"/>
                  </a:lnTo>
                  <a:lnTo>
                    <a:pt x="129997" y="63296"/>
                  </a:lnTo>
                  <a:lnTo>
                    <a:pt x="125945" y="62001"/>
                  </a:lnTo>
                  <a:lnTo>
                    <a:pt x="121437" y="56819"/>
                  </a:lnTo>
                  <a:lnTo>
                    <a:pt x="120307" y="52006"/>
                  </a:lnTo>
                  <a:lnTo>
                    <a:pt x="120307" y="38011"/>
                  </a:lnTo>
                  <a:lnTo>
                    <a:pt x="121450" y="33235"/>
                  </a:lnTo>
                  <a:lnTo>
                    <a:pt x="126022" y="28067"/>
                  </a:lnTo>
                  <a:lnTo>
                    <a:pt x="130060" y="26771"/>
                  </a:lnTo>
                  <a:lnTo>
                    <a:pt x="149078" y="26771"/>
                  </a:lnTo>
                  <a:lnTo>
                    <a:pt x="150063" y="21894"/>
                  </a:lnTo>
                  <a:lnTo>
                    <a:pt x="146011" y="20370"/>
                  </a:lnTo>
                  <a:lnTo>
                    <a:pt x="140804" y="19608"/>
                  </a:lnTo>
                  <a:close/>
                </a:path>
                <a:path w="563880" h="89534">
                  <a:moveTo>
                    <a:pt x="150164" y="62306"/>
                  </a:moveTo>
                  <a:lnTo>
                    <a:pt x="145973" y="62953"/>
                  </a:lnTo>
                  <a:lnTo>
                    <a:pt x="141198" y="63296"/>
                  </a:lnTo>
                  <a:lnTo>
                    <a:pt x="150302" y="63296"/>
                  </a:lnTo>
                  <a:lnTo>
                    <a:pt x="150164" y="62306"/>
                  </a:lnTo>
                  <a:close/>
                </a:path>
                <a:path w="563880" h="89534">
                  <a:moveTo>
                    <a:pt x="149078" y="26771"/>
                  </a:moveTo>
                  <a:lnTo>
                    <a:pt x="140208" y="26771"/>
                  </a:lnTo>
                  <a:lnTo>
                    <a:pt x="144589" y="26974"/>
                  </a:lnTo>
                  <a:lnTo>
                    <a:pt x="148958" y="27368"/>
                  </a:lnTo>
                  <a:lnTo>
                    <a:pt x="149078" y="26771"/>
                  </a:lnTo>
                  <a:close/>
                </a:path>
                <a:path w="563880" h="89534">
                  <a:moveTo>
                    <a:pt x="97401" y="26771"/>
                  </a:moveTo>
                  <a:lnTo>
                    <a:pt x="83718" y="26771"/>
                  </a:lnTo>
                  <a:lnTo>
                    <a:pt x="86271" y="27393"/>
                  </a:lnTo>
                  <a:lnTo>
                    <a:pt x="89052" y="29921"/>
                  </a:lnTo>
                  <a:lnTo>
                    <a:pt x="89789" y="32080"/>
                  </a:lnTo>
                  <a:lnTo>
                    <a:pt x="89852" y="39408"/>
                  </a:lnTo>
                  <a:lnTo>
                    <a:pt x="65404" y="39408"/>
                  </a:lnTo>
                  <a:lnTo>
                    <a:pt x="62103" y="40449"/>
                  </a:lnTo>
                  <a:lnTo>
                    <a:pt x="57391" y="44627"/>
                  </a:lnTo>
                  <a:lnTo>
                    <a:pt x="56222" y="47574"/>
                  </a:lnTo>
                  <a:lnTo>
                    <a:pt x="56222" y="60934"/>
                  </a:lnTo>
                  <a:lnTo>
                    <a:pt x="57518" y="64274"/>
                  </a:lnTo>
                  <a:lnTo>
                    <a:pt x="62687" y="68973"/>
                  </a:lnTo>
                  <a:lnTo>
                    <a:pt x="66205" y="70154"/>
                  </a:lnTo>
                  <a:lnTo>
                    <a:pt x="74701" y="70154"/>
                  </a:lnTo>
                  <a:lnTo>
                    <a:pt x="78485" y="69265"/>
                  </a:lnTo>
                  <a:lnTo>
                    <a:pt x="85420" y="65760"/>
                  </a:lnTo>
                  <a:lnTo>
                    <a:pt x="88328" y="63690"/>
                  </a:lnTo>
                  <a:lnTo>
                    <a:pt x="89045" y="62953"/>
                  </a:lnTo>
                  <a:lnTo>
                    <a:pt x="74929" y="62953"/>
                  </a:lnTo>
                  <a:lnTo>
                    <a:pt x="72339" y="62890"/>
                  </a:lnTo>
                  <a:lnTo>
                    <a:pt x="69748" y="62890"/>
                  </a:lnTo>
                  <a:lnTo>
                    <a:pt x="67843" y="62306"/>
                  </a:lnTo>
                  <a:lnTo>
                    <a:pt x="65392" y="59994"/>
                  </a:lnTo>
                  <a:lnTo>
                    <a:pt x="64782" y="58153"/>
                  </a:lnTo>
                  <a:lnTo>
                    <a:pt x="64782" y="48298"/>
                  </a:lnTo>
                  <a:lnTo>
                    <a:pt x="66903" y="46075"/>
                  </a:lnTo>
                  <a:lnTo>
                    <a:pt x="71145" y="45885"/>
                  </a:lnTo>
                  <a:lnTo>
                    <a:pt x="98310" y="45885"/>
                  </a:lnTo>
                  <a:lnTo>
                    <a:pt x="98310" y="29489"/>
                  </a:lnTo>
                  <a:lnTo>
                    <a:pt x="97401" y="26771"/>
                  </a:lnTo>
                  <a:close/>
                </a:path>
                <a:path w="563880" h="89534">
                  <a:moveTo>
                    <a:pt x="98310" y="61302"/>
                  </a:moveTo>
                  <a:lnTo>
                    <a:pt x="90652" y="61302"/>
                  </a:lnTo>
                  <a:lnTo>
                    <a:pt x="91643" y="69265"/>
                  </a:lnTo>
                  <a:lnTo>
                    <a:pt x="98310" y="69265"/>
                  </a:lnTo>
                  <a:lnTo>
                    <a:pt x="98310" y="61302"/>
                  </a:lnTo>
                  <a:close/>
                </a:path>
                <a:path w="563880" h="89534">
                  <a:moveTo>
                    <a:pt x="98310" y="45885"/>
                  </a:moveTo>
                  <a:lnTo>
                    <a:pt x="89852" y="45885"/>
                  </a:lnTo>
                  <a:lnTo>
                    <a:pt x="89852" y="55638"/>
                  </a:lnTo>
                  <a:lnTo>
                    <a:pt x="87134" y="58026"/>
                  </a:lnTo>
                  <a:lnTo>
                    <a:pt x="84188" y="59842"/>
                  </a:lnTo>
                  <a:lnTo>
                    <a:pt x="77812" y="62357"/>
                  </a:lnTo>
                  <a:lnTo>
                    <a:pt x="74929" y="62953"/>
                  </a:lnTo>
                  <a:lnTo>
                    <a:pt x="89045" y="62953"/>
                  </a:lnTo>
                  <a:lnTo>
                    <a:pt x="90652" y="61302"/>
                  </a:lnTo>
                  <a:lnTo>
                    <a:pt x="98310" y="61302"/>
                  </a:lnTo>
                  <a:lnTo>
                    <a:pt x="98310" y="45885"/>
                  </a:lnTo>
                  <a:close/>
                </a:path>
                <a:path w="563880" h="89534">
                  <a:moveTo>
                    <a:pt x="87439" y="19608"/>
                  </a:moveTo>
                  <a:lnTo>
                    <a:pt x="75158" y="19608"/>
                  </a:lnTo>
                  <a:lnTo>
                    <a:pt x="67335" y="20332"/>
                  </a:lnTo>
                  <a:lnTo>
                    <a:pt x="58305" y="21793"/>
                  </a:lnTo>
                  <a:lnTo>
                    <a:pt x="59105" y="28067"/>
                  </a:lnTo>
                  <a:lnTo>
                    <a:pt x="68325" y="27203"/>
                  </a:lnTo>
                  <a:lnTo>
                    <a:pt x="75285" y="26771"/>
                  </a:lnTo>
                  <a:lnTo>
                    <a:pt x="97401" y="26771"/>
                  </a:lnTo>
                  <a:lnTo>
                    <a:pt x="96977" y="25501"/>
                  </a:lnTo>
                  <a:lnTo>
                    <a:pt x="91592" y="20777"/>
                  </a:lnTo>
                  <a:lnTo>
                    <a:pt x="87439" y="19608"/>
                  </a:lnTo>
                  <a:close/>
                </a:path>
                <a:path w="563880" h="89534">
                  <a:moveTo>
                    <a:pt x="28257" y="0"/>
                  </a:moveTo>
                  <a:lnTo>
                    <a:pt x="14262" y="0"/>
                  </a:lnTo>
                  <a:lnTo>
                    <a:pt x="7162" y="203"/>
                  </a:lnTo>
                  <a:lnTo>
                    <a:pt x="0" y="596"/>
                  </a:lnTo>
                  <a:lnTo>
                    <a:pt x="0" y="69265"/>
                  </a:lnTo>
                  <a:lnTo>
                    <a:pt x="190" y="69265"/>
                  </a:lnTo>
                  <a:lnTo>
                    <a:pt x="6756" y="69862"/>
                  </a:lnTo>
                  <a:lnTo>
                    <a:pt x="13957" y="70154"/>
                  </a:lnTo>
                  <a:lnTo>
                    <a:pt x="26301" y="70154"/>
                  </a:lnTo>
                  <a:lnTo>
                    <a:pt x="43885" y="62598"/>
                  </a:lnTo>
                  <a:lnTo>
                    <a:pt x="16116" y="62598"/>
                  </a:lnTo>
                  <a:lnTo>
                    <a:pt x="11264" y="62560"/>
                  </a:lnTo>
                  <a:lnTo>
                    <a:pt x="8750" y="62496"/>
                  </a:lnTo>
                  <a:lnTo>
                    <a:pt x="8750" y="37020"/>
                  </a:lnTo>
                  <a:lnTo>
                    <a:pt x="43656" y="37020"/>
                  </a:lnTo>
                  <a:lnTo>
                    <a:pt x="37668" y="31623"/>
                  </a:lnTo>
                  <a:lnTo>
                    <a:pt x="31775" y="30149"/>
                  </a:lnTo>
                  <a:lnTo>
                    <a:pt x="8750" y="30149"/>
                  </a:lnTo>
                  <a:lnTo>
                    <a:pt x="8750" y="7861"/>
                  </a:lnTo>
                  <a:lnTo>
                    <a:pt x="41389" y="7861"/>
                  </a:lnTo>
                  <a:lnTo>
                    <a:pt x="42189" y="596"/>
                  </a:lnTo>
                  <a:lnTo>
                    <a:pt x="35217" y="203"/>
                  </a:lnTo>
                  <a:lnTo>
                    <a:pt x="28257" y="0"/>
                  </a:lnTo>
                  <a:close/>
                </a:path>
                <a:path w="563880" h="89534">
                  <a:moveTo>
                    <a:pt x="43656" y="37020"/>
                  </a:moveTo>
                  <a:lnTo>
                    <a:pt x="28790" y="37020"/>
                  </a:lnTo>
                  <a:lnTo>
                    <a:pt x="32448" y="37934"/>
                  </a:lnTo>
                  <a:lnTo>
                    <a:pt x="36106" y="41579"/>
                  </a:lnTo>
                  <a:lnTo>
                    <a:pt x="37007" y="44983"/>
                  </a:lnTo>
                  <a:lnTo>
                    <a:pt x="37007" y="55067"/>
                  </a:lnTo>
                  <a:lnTo>
                    <a:pt x="36106" y="58445"/>
                  </a:lnTo>
                  <a:lnTo>
                    <a:pt x="32448" y="61772"/>
                  </a:lnTo>
                  <a:lnTo>
                    <a:pt x="28790" y="62598"/>
                  </a:lnTo>
                  <a:lnTo>
                    <a:pt x="43885" y="62598"/>
                  </a:lnTo>
                  <a:lnTo>
                    <a:pt x="45402" y="58254"/>
                  </a:lnTo>
                  <a:lnTo>
                    <a:pt x="45828" y="55067"/>
                  </a:lnTo>
                  <a:lnTo>
                    <a:pt x="45872" y="42786"/>
                  </a:lnTo>
                  <a:lnTo>
                    <a:pt x="44234" y="37541"/>
                  </a:lnTo>
                  <a:lnTo>
                    <a:pt x="43656" y="37020"/>
                  </a:lnTo>
                  <a:close/>
                </a:path>
              </a:pathLst>
            </a:custGeom>
            <a:solidFill>
              <a:srgbClr val="808285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63" name="object 26"/>
            <p:cNvSpPr/>
            <p:nvPr/>
          </p:nvSpPr>
          <p:spPr>
            <a:xfrm>
              <a:off x="1359608" y="395264"/>
              <a:ext cx="1039494" cy="136525"/>
            </a:xfrm>
            <a:custGeom>
              <a:avLst/>
              <a:gdLst/>
              <a:ahLst/>
              <a:cxnLst/>
              <a:rect l="l" t="t" r="r" b="b"/>
              <a:pathLst>
                <a:path w="1039494" h="136525">
                  <a:moveTo>
                    <a:pt x="980490" y="31102"/>
                  </a:moveTo>
                  <a:lnTo>
                    <a:pt x="956906" y="31102"/>
                  </a:lnTo>
                  <a:lnTo>
                    <a:pt x="980947" y="99771"/>
                  </a:lnTo>
                  <a:lnTo>
                    <a:pt x="982040" y="103365"/>
                  </a:lnTo>
                  <a:lnTo>
                    <a:pt x="984491" y="105181"/>
                  </a:lnTo>
                  <a:lnTo>
                    <a:pt x="992504" y="105181"/>
                  </a:lnTo>
                  <a:lnTo>
                    <a:pt x="990206" y="110883"/>
                  </a:lnTo>
                  <a:lnTo>
                    <a:pt x="987094" y="114896"/>
                  </a:lnTo>
                  <a:lnTo>
                    <a:pt x="983195" y="117195"/>
                  </a:lnTo>
                  <a:lnTo>
                    <a:pt x="979385" y="119494"/>
                  </a:lnTo>
                  <a:lnTo>
                    <a:pt x="972921" y="120497"/>
                  </a:lnTo>
                  <a:lnTo>
                    <a:pt x="963779" y="120497"/>
                  </a:lnTo>
                  <a:lnTo>
                    <a:pt x="962012" y="134924"/>
                  </a:lnTo>
                  <a:lnTo>
                    <a:pt x="971118" y="135974"/>
                  </a:lnTo>
                  <a:lnTo>
                    <a:pt x="979212" y="135824"/>
                  </a:lnTo>
                  <a:lnTo>
                    <a:pt x="986295" y="134472"/>
                  </a:lnTo>
                  <a:lnTo>
                    <a:pt x="992365" y="131914"/>
                  </a:lnTo>
                  <a:lnTo>
                    <a:pt x="999034" y="127550"/>
                  </a:lnTo>
                  <a:lnTo>
                    <a:pt x="1004639" y="121813"/>
                  </a:lnTo>
                  <a:lnTo>
                    <a:pt x="1005480" y="120497"/>
                  </a:lnTo>
                  <a:lnTo>
                    <a:pt x="972921" y="120497"/>
                  </a:lnTo>
                  <a:lnTo>
                    <a:pt x="963815" y="120205"/>
                  </a:lnTo>
                  <a:lnTo>
                    <a:pt x="1005666" y="120205"/>
                  </a:lnTo>
                  <a:lnTo>
                    <a:pt x="1009178" y="114707"/>
                  </a:lnTo>
                  <a:lnTo>
                    <a:pt x="1012647" y="106235"/>
                  </a:lnTo>
                  <a:lnTo>
                    <a:pt x="1018277" y="90144"/>
                  </a:lnTo>
                  <a:lnTo>
                    <a:pt x="996708" y="90144"/>
                  </a:lnTo>
                  <a:lnTo>
                    <a:pt x="996315" y="87350"/>
                  </a:lnTo>
                  <a:lnTo>
                    <a:pt x="995514" y="83642"/>
                  </a:lnTo>
                  <a:lnTo>
                    <a:pt x="994308" y="79032"/>
                  </a:lnTo>
                  <a:lnTo>
                    <a:pt x="980490" y="31102"/>
                  </a:lnTo>
                  <a:close/>
                </a:path>
                <a:path w="1039494" h="136525">
                  <a:moveTo>
                    <a:pt x="1038936" y="31102"/>
                  </a:moveTo>
                  <a:lnTo>
                    <a:pt x="1015199" y="31102"/>
                  </a:lnTo>
                  <a:lnTo>
                    <a:pt x="1001522" y="79032"/>
                  </a:lnTo>
                  <a:lnTo>
                    <a:pt x="1001115" y="80733"/>
                  </a:lnTo>
                  <a:lnTo>
                    <a:pt x="1000125" y="84442"/>
                  </a:lnTo>
                  <a:lnTo>
                    <a:pt x="998512" y="90144"/>
                  </a:lnTo>
                  <a:lnTo>
                    <a:pt x="1018277" y="90144"/>
                  </a:lnTo>
                  <a:lnTo>
                    <a:pt x="1038936" y="31102"/>
                  </a:lnTo>
                  <a:close/>
                </a:path>
                <a:path w="1039494" h="136525">
                  <a:moveTo>
                    <a:pt x="893648" y="31102"/>
                  </a:moveTo>
                  <a:lnTo>
                    <a:pt x="875626" y="31102"/>
                  </a:lnTo>
                  <a:lnTo>
                    <a:pt x="875626" y="133718"/>
                  </a:lnTo>
                  <a:lnTo>
                    <a:pt x="897699" y="133718"/>
                  </a:lnTo>
                  <a:lnTo>
                    <a:pt x="897680" y="104305"/>
                  </a:lnTo>
                  <a:lnTo>
                    <a:pt x="897254" y="99910"/>
                  </a:lnTo>
                  <a:lnTo>
                    <a:pt x="942500" y="99910"/>
                  </a:lnTo>
                  <a:lnTo>
                    <a:pt x="943533" y="98640"/>
                  </a:lnTo>
                  <a:lnTo>
                    <a:pt x="946558" y="93590"/>
                  </a:lnTo>
                  <a:lnTo>
                    <a:pt x="947527" y="90601"/>
                  </a:lnTo>
                  <a:lnTo>
                    <a:pt x="911136" y="90601"/>
                  </a:lnTo>
                  <a:lnTo>
                    <a:pt x="905522" y="89598"/>
                  </a:lnTo>
                  <a:lnTo>
                    <a:pt x="897699" y="87591"/>
                  </a:lnTo>
                  <a:lnTo>
                    <a:pt x="897699" y="53644"/>
                  </a:lnTo>
                  <a:lnTo>
                    <a:pt x="904913" y="48933"/>
                  </a:lnTo>
                  <a:lnTo>
                    <a:pt x="911021" y="46583"/>
                  </a:lnTo>
                  <a:lnTo>
                    <a:pt x="946936" y="46583"/>
                  </a:lnTo>
                  <a:lnTo>
                    <a:pt x="945123" y="41922"/>
                  </a:lnTo>
                  <a:lnTo>
                    <a:pt x="895299" y="41922"/>
                  </a:lnTo>
                  <a:lnTo>
                    <a:pt x="893648" y="31102"/>
                  </a:lnTo>
                  <a:close/>
                </a:path>
                <a:path w="1039494" h="136525">
                  <a:moveTo>
                    <a:pt x="942500" y="99910"/>
                  </a:moveTo>
                  <a:lnTo>
                    <a:pt x="897254" y="99910"/>
                  </a:lnTo>
                  <a:lnTo>
                    <a:pt x="902462" y="103068"/>
                  </a:lnTo>
                  <a:lnTo>
                    <a:pt x="908330" y="105322"/>
                  </a:lnTo>
                  <a:lnTo>
                    <a:pt x="914858" y="106674"/>
                  </a:lnTo>
                  <a:lnTo>
                    <a:pt x="922045" y="107124"/>
                  </a:lnTo>
                  <a:lnTo>
                    <a:pt x="931760" y="107124"/>
                  </a:lnTo>
                  <a:lnTo>
                    <a:pt x="938923" y="104305"/>
                  </a:lnTo>
                  <a:lnTo>
                    <a:pt x="942500" y="99910"/>
                  </a:lnTo>
                  <a:close/>
                </a:path>
                <a:path w="1039494" h="136525">
                  <a:moveTo>
                    <a:pt x="946936" y="46583"/>
                  </a:moveTo>
                  <a:lnTo>
                    <a:pt x="920343" y="46583"/>
                  </a:lnTo>
                  <a:lnTo>
                    <a:pt x="923340" y="48107"/>
                  </a:lnTo>
                  <a:lnTo>
                    <a:pt x="926757" y="54216"/>
                  </a:lnTo>
                  <a:lnTo>
                    <a:pt x="927595" y="60096"/>
                  </a:lnTo>
                  <a:lnTo>
                    <a:pt x="927595" y="77724"/>
                  </a:lnTo>
                  <a:lnTo>
                    <a:pt x="926680" y="83591"/>
                  </a:lnTo>
                  <a:lnTo>
                    <a:pt x="922972" y="89204"/>
                  </a:lnTo>
                  <a:lnTo>
                    <a:pt x="919543" y="90601"/>
                  </a:lnTo>
                  <a:lnTo>
                    <a:pt x="947527" y="90601"/>
                  </a:lnTo>
                  <a:lnTo>
                    <a:pt x="948716" y="86936"/>
                  </a:lnTo>
                  <a:lnTo>
                    <a:pt x="950011" y="78679"/>
                  </a:lnTo>
                  <a:lnTo>
                    <a:pt x="950442" y="68821"/>
                  </a:lnTo>
                  <a:lnTo>
                    <a:pt x="948835" y="51469"/>
                  </a:lnTo>
                  <a:lnTo>
                    <a:pt x="946936" y="46583"/>
                  </a:lnTo>
                  <a:close/>
                </a:path>
                <a:path w="1039494" h="136525">
                  <a:moveTo>
                    <a:pt x="924750" y="29159"/>
                  </a:moveTo>
                  <a:lnTo>
                    <a:pt x="919137" y="29159"/>
                  </a:lnTo>
                  <a:lnTo>
                    <a:pt x="913599" y="30353"/>
                  </a:lnTo>
                  <a:lnTo>
                    <a:pt x="902690" y="35166"/>
                  </a:lnTo>
                  <a:lnTo>
                    <a:pt x="898410" y="38214"/>
                  </a:lnTo>
                  <a:lnTo>
                    <a:pt x="895299" y="41922"/>
                  </a:lnTo>
                  <a:lnTo>
                    <a:pt x="945123" y="41922"/>
                  </a:lnTo>
                  <a:lnTo>
                    <a:pt x="944016" y="39074"/>
                  </a:lnTo>
                  <a:lnTo>
                    <a:pt x="935987" y="31638"/>
                  </a:lnTo>
                  <a:lnTo>
                    <a:pt x="924750" y="29159"/>
                  </a:lnTo>
                  <a:close/>
                </a:path>
                <a:path w="1039494" h="136525">
                  <a:moveTo>
                    <a:pt x="779907" y="31102"/>
                  </a:moveTo>
                  <a:lnTo>
                    <a:pt x="758583" y="31102"/>
                  </a:lnTo>
                  <a:lnTo>
                    <a:pt x="758583" y="105181"/>
                  </a:lnTo>
                  <a:lnTo>
                    <a:pt x="759180" y="105181"/>
                  </a:lnTo>
                  <a:lnTo>
                    <a:pt x="766208" y="105572"/>
                  </a:lnTo>
                  <a:lnTo>
                    <a:pt x="774509" y="105849"/>
                  </a:lnTo>
                  <a:lnTo>
                    <a:pt x="784087" y="106015"/>
                  </a:lnTo>
                  <a:lnTo>
                    <a:pt x="794943" y="106070"/>
                  </a:lnTo>
                  <a:lnTo>
                    <a:pt x="805751" y="106070"/>
                  </a:lnTo>
                  <a:lnTo>
                    <a:pt x="813473" y="104305"/>
                  </a:lnTo>
                  <a:lnTo>
                    <a:pt x="822680" y="97193"/>
                  </a:lnTo>
                  <a:lnTo>
                    <a:pt x="824991" y="90754"/>
                  </a:lnTo>
                  <a:lnTo>
                    <a:pt x="824991" y="90449"/>
                  </a:lnTo>
                  <a:lnTo>
                    <a:pt x="779907" y="90449"/>
                  </a:lnTo>
                  <a:lnTo>
                    <a:pt x="779907" y="70777"/>
                  </a:lnTo>
                  <a:lnTo>
                    <a:pt x="824566" y="70777"/>
                  </a:lnTo>
                  <a:lnTo>
                    <a:pt x="822579" y="65443"/>
                  </a:lnTo>
                  <a:lnTo>
                    <a:pt x="791032" y="56794"/>
                  </a:lnTo>
                  <a:lnTo>
                    <a:pt x="779907" y="56794"/>
                  </a:lnTo>
                  <a:lnTo>
                    <a:pt x="779907" y="31102"/>
                  </a:lnTo>
                  <a:close/>
                </a:path>
                <a:path w="1039494" h="136525">
                  <a:moveTo>
                    <a:pt x="824566" y="70777"/>
                  </a:moveTo>
                  <a:lnTo>
                    <a:pt x="795642" y="70777"/>
                  </a:lnTo>
                  <a:lnTo>
                    <a:pt x="798715" y="71424"/>
                  </a:lnTo>
                  <a:lnTo>
                    <a:pt x="801827" y="74028"/>
                  </a:lnTo>
                  <a:lnTo>
                    <a:pt x="802601" y="76631"/>
                  </a:lnTo>
                  <a:lnTo>
                    <a:pt x="802601" y="84645"/>
                  </a:lnTo>
                  <a:lnTo>
                    <a:pt x="801827" y="87325"/>
                  </a:lnTo>
                  <a:lnTo>
                    <a:pt x="798715" y="89827"/>
                  </a:lnTo>
                  <a:lnTo>
                    <a:pt x="795642" y="90449"/>
                  </a:lnTo>
                  <a:lnTo>
                    <a:pt x="824991" y="90449"/>
                  </a:lnTo>
                  <a:lnTo>
                    <a:pt x="824991" y="71920"/>
                  </a:lnTo>
                  <a:lnTo>
                    <a:pt x="824566" y="70777"/>
                  </a:lnTo>
                  <a:close/>
                </a:path>
                <a:path w="1039494" h="136525">
                  <a:moveTo>
                    <a:pt x="856691" y="31102"/>
                  </a:moveTo>
                  <a:lnTo>
                    <a:pt x="834453" y="31102"/>
                  </a:lnTo>
                  <a:lnTo>
                    <a:pt x="834453" y="105181"/>
                  </a:lnTo>
                  <a:lnTo>
                    <a:pt x="856691" y="105181"/>
                  </a:lnTo>
                  <a:lnTo>
                    <a:pt x="856691" y="31102"/>
                  </a:lnTo>
                  <a:close/>
                </a:path>
                <a:path w="1039494" h="136525">
                  <a:moveTo>
                    <a:pt x="745515" y="89255"/>
                  </a:moveTo>
                  <a:lnTo>
                    <a:pt x="657771" y="89255"/>
                  </a:lnTo>
                  <a:lnTo>
                    <a:pt x="657771" y="126352"/>
                  </a:lnTo>
                  <a:lnTo>
                    <a:pt x="672338" y="126352"/>
                  </a:lnTo>
                  <a:lnTo>
                    <a:pt x="673836" y="105181"/>
                  </a:lnTo>
                  <a:lnTo>
                    <a:pt x="745515" y="105181"/>
                  </a:lnTo>
                  <a:lnTo>
                    <a:pt x="745515" y="89255"/>
                  </a:lnTo>
                  <a:close/>
                </a:path>
                <a:path w="1039494" h="136525">
                  <a:moveTo>
                    <a:pt x="745515" y="105181"/>
                  </a:moveTo>
                  <a:lnTo>
                    <a:pt x="729284" y="105181"/>
                  </a:lnTo>
                  <a:lnTo>
                    <a:pt x="730935" y="126352"/>
                  </a:lnTo>
                  <a:lnTo>
                    <a:pt x="745515" y="126352"/>
                  </a:lnTo>
                  <a:lnTo>
                    <a:pt x="745515" y="105181"/>
                  </a:lnTo>
                  <a:close/>
                </a:path>
                <a:path w="1039494" h="136525">
                  <a:moveTo>
                    <a:pt x="733793" y="31102"/>
                  </a:moveTo>
                  <a:lnTo>
                    <a:pt x="697433" y="31102"/>
                  </a:lnTo>
                  <a:lnTo>
                    <a:pt x="688844" y="32230"/>
                  </a:lnTo>
                  <a:lnTo>
                    <a:pt x="682450" y="35613"/>
                  </a:lnTo>
                  <a:lnTo>
                    <a:pt x="678252" y="41249"/>
                  </a:lnTo>
                  <a:lnTo>
                    <a:pt x="676249" y="49136"/>
                  </a:lnTo>
                  <a:lnTo>
                    <a:pt x="674718" y="60318"/>
                  </a:lnTo>
                  <a:lnTo>
                    <a:pt x="672679" y="70734"/>
                  </a:lnTo>
                  <a:lnTo>
                    <a:pt x="670132" y="80381"/>
                  </a:lnTo>
                  <a:lnTo>
                    <a:pt x="667080" y="89255"/>
                  </a:lnTo>
                  <a:lnTo>
                    <a:pt x="686612" y="89255"/>
                  </a:lnTo>
                  <a:lnTo>
                    <a:pt x="696277" y="48488"/>
                  </a:lnTo>
                  <a:lnTo>
                    <a:pt x="698779" y="46126"/>
                  </a:lnTo>
                  <a:lnTo>
                    <a:pt x="733793" y="46126"/>
                  </a:lnTo>
                  <a:lnTo>
                    <a:pt x="733793" y="31102"/>
                  </a:lnTo>
                  <a:close/>
                </a:path>
                <a:path w="1039494" h="136525">
                  <a:moveTo>
                    <a:pt x="733793" y="46126"/>
                  </a:moveTo>
                  <a:lnTo>
                    <a:pt x="712914" y="46126"/>
                  </a:lnTo>
                  <a:lnTo>
                    <a:pt x="712914" y="89255"/>
                  </a:lnTo>
                  <a:lnTo>
                    <a:pt x="733793" y="89255"/>
                  </a:lnTo>
                  <a:lnTo>
                    <a:pt x="733793" y="46126"/>
                  </a:lnTo>
                  <a:close/>
                </a:path>
                <a:path w="1039494" h="136525">
                  <a:moveTo>
                    <a:pt x="595261" y="31102"/>
                  </a:moveTo>
                  <a:lnTo>
                    <a:pt x="573328" y="31102"/>
                  </a:lnTo>
                  <a:lnTo>
                    <a:pt x="573328" y="105181"/>
                  </a:lnTo>
                  <a:lnTo>
                    <a:pt x="595261" y="105181"/>
                  </a:lnTo>
                  <a:lnTo>
                    <a:pt x="595261" y="73774"/>
                  </a:lnTo>
                  <a:lnTo>
                    <a:pt x="645147" y="73774"/>
                  </a:lnTo>
                  <a:lnTo>
                    <a:pt x="645147" y="58305"/>
                  </a:lnTo>
                  <a:lnTo>
                    <a:pt x="595261" y="58305"/>
                  </a:lnTo>
                  <a:lnTo>
                    <a:pt x="595261" y="31102"/>
                  </a:lnTo>
                  <a:close/>
                </a:path>
                <a:path w="1039494" h="136525">
                  <a:moveTo>
                    <a:pt x="645147" y="73774"/>
                  </a:moveTo>
                  <a:lnTo>
                    <a:pt x="623354" y="73774"/>
                  </a:lnTo>
                  <a:lnTo>
                    <a:pt x="623354" y="105181"/>
                  </a:lnTo>
                  <a:lnTo>
                    <a:pt x="645147" y="105181"/>
                  </a:lnTo>
                  <a:lnTo>
                    <a:pt x="645147" y="73774"/>
                  </a:lnTo>
                  <a:close/>
                </a:path>
                <a:path w="1039494" h="136525">
                  <a:moveTo>
                    <a:pt x="645147" y="31102"/>
                  </a:moveTo>
                  <a:lnTo>
                    <a:pt x="623354" y="31102"/>
                  </a:lnTo>
                  <a:lnTo>
                    <a:pt x="623354" y="58305"/>
                  </a:lnTo>
                  <a:lnTo>
                    <a:pt x="645147" y="58305"/>
                  </a:lnTo>
                  <a:lnTo>
                    <a:pt x="645147" y="31102"/>
                  </a:lnTo>
                  <a:close/>
                </a:path>
                <a:path w="1039494" h="136525">
                  <a:moveTo>
                    <a:pt x="555155" y="46431"/>
                  </a:moveTo>
                  <a:lnTo>
                    <a:pt x="525449" y="46431"/>
                  </a:lnTo>
                  <a:lnTo>
                    <a:pt x="528639" y="47106"/>
                  </a:lnTo>
                  <a:lnTo>
                    <a:pt x="531939" y="49809"/>
                  </a:lnTo>
                  <a:lnTo>
                    <a:pt x="532815" y="52336"/>
                  </a:lnTo>
                  <a:lnTo>
                    <a:pt x="532917" y="59347"/>
                  </a:lnTo>
                  <a:lnTo>
                    <a:pt x="499364" y="59347"/>
                  </a:lnTo>
                  <a:lnTo>
                    <a:pt x="493801" y="60998"/>
                  </a:lnTo>
                  <a:lnTo>
                    <a:pt x="485787" y="67614"/>
                  </a:lnTo>
                  <a:lnTo>
                    <a:pt x="483793" y="72224"/>
                  </a:lnTo>
                  <a:lnTo>
                    <a:pt x="483793" y="92354"/>
                  </a:lnTo>
                  <a:lnTo>
                    <a:pt x="486016" y="97586"/>
                  </a:lnTo>
                  <a:lnTo>
                    <a:pt x="494931" y="105105"/>
                  </a:lnTo>
                  <a:lnTo>
                    <a:pt x="500710" y="106984"/>
                  </a:lnTo>
                  <a:lnTo>
                    <a:pt x="507822" y="106984"/>
                  </a:lnTo>
                  <a:lnTo>
                    <a:pt x="515684" y="106166"/>
                  </a:lnTo>
                  <a:lnTo>
                    <a:pt x="522889" y="103711"/>
                  </a:lnTo>
                  <a:lnTo>
                    <a:pt x="529433" y="99623"/>
                  </a:lnTo>
                  <a:lnTo>
                    <a:pt x="535317" y="93903"/>
                  </a:lnTo>
                  <a:lnTo>
                    <a:pt x="555155" y="93903"/>
                  </a:lnTo>
                  <a:lnTo>
                    <a:pt x="555155" y="90297"/>
                  </a:lnTo>
                  <a:lnTo>
                    <a:pt x="508571" y="90297"/>
                  </a:lnTo>
                  <a:lnTo>
                    <a:pt x="505726" y="87744"/>
                  </a:lnTo>
                  <a:lnTo>
                    <a:pt x="505726" y="75171"/>
                  </a:lnTo>
                  <a:lnTo>
                    <a:pt x="508127" y="72821"/>
                  </a:lnTo>
                  <a:lnTo>
                    <a:pt x="512940" y="72720"/>
                  </a:lnTo>
                  <a:lnTo>
                    <a:pt x="555155" y="72720"/>
                  </a:lnTo>
                  <a:lnTo>
                    <a:pt x="555155" y="46431"/>
                  </a:lnTo>
                  <a:close/>
                </a:path>
                <a:path w="1039494" h="136525">
                  <a:moveTo>
                    <a:pt x="555155" y="93903"/>
                  </a:moveTo>
                  <a:lnTo>
                    <a:pt x="535317" y="93903"/>
                  </a:lnTo>
                  <a:lnTo>
                    <a:pt x="537565" y="105181"/>
                  </a:lnTo>
                  <a:lnTo>
                    <a:pt x="555155" y="105181"/>
                  </a:lnTo>
                  <a:lnTo>
                    <a:pt x="555155" y="93903"/>
                  </a:lnTo>
                  <a:close/>
                </a:path>
                <a:path w="1039494" h="136525">
                  <a:moveTo>
                    <a:pt x="555155" y="72720"/>
                  </a:moveTo>
                  <a:lnTo>
                    <a:pt x="532917" y="72720"/>
                  </a:lnTo>
                  <a:lnTo>
                    <a:pt x="532917" y="83083"/>
                  </a:lnTo>
                  <a:lnTo>
                    <a:pt x="526402" y="87896"/>
                  </a:lnTo>
                  <a:lnTo>
                    <a:pt x="520192" y="90297"/>
                  </a:lnTo>
                  <a:lnTo>
                    <a:pt x="555155" y="90297"/>
                  </a:lnTo>
                  <a:lnTo>
                    <a:pt x="555155" y="72720"/>
                  </a:lnTo>
                  <a:close/>
                </a:path>
                <a:path w="1039494" h="136525">
                  <a:moveTo>
                    <a:pt x="535876" y="28994"/>
                  </a:moveTo>
                  <a:lnTo>
                    <a:pt x="525856" y="28994"/>
                  </a:lnTo>
                  <a:lnTo>
                    <a:pt x="516521" y="29220"/>
                  </a:lnTo>
                  <a:lnTo>
                    <a:pt x="506998" y="29898"/>
                  </a:lnTo>
                  <a:lnTo>
                    <a:pt x="497286" y="31030"/>
                  </a:lnTo>
                  <a:lnTo>
                    <a:pt x="487387" y="32613"/>
                  </a:lnTo>
                  <a:lnTo>
                    <a:pt x="489343" y="47637"/>
                  </a:lnTo>
                  <a:lnTo>
                    <a:pt x="498564" y="47104"/>
                  </a:lnTo>
                  <a:lnTo>
                    <a:pt x="506814" y="46729"/>
                  </a:lnTo>
                  <a:lnTo>
                    <a:pt x="514223" y="46505"/>
                  </a:lnTo>
                  <a:lnTo>
                    <a:pt x="520750" y="46431"/>
                  </a:lnTo>
                  <a:lnTo>
                    <a:pt x="555155" y="46431"/>
                  </a:lnTo>
                  <a:lnTo>
                    <a:pt x="555155" y="46177"/>
                  </a:lnTo>
                  <a:lnTo>
                    <a:pt x="552767" y="39141"/>
                  </a:lnTo>
                  <a:lnTo>
                    <a:pt x="543255" y="31026"/>
                  </a:lnTo>
                  <a:lnTo>
                    <a:pt x="535876" y="28994"/>
                  </a:lnTo>
                  <a:close/>
                </a:path>
                <a:path w="1039494" h="136525">
                  <a:moveTo>
                    <a:pt x="468617" y="31102"/>
                  </a:moveTo>
                  <a:lnTo>
                    <a:pt x="429094" y="31102"/>
                  </a:lnTo>
                  <a:lnTo>
                    <a:pt x="420770" y="32276"/>
                  </a:lnTo>
                  <a:lnTo>
                    <a:pt x="414562" y="35798"/>
                  </a:lnTo>
                  <a:lnTo>
                    <a:pt x="410474" y="41667"/>
                  </a:lnTo>
                  <a:lnTo>
                    <a:pt x="408508" y="49885"/>
                  </a:lnTo>
                  <a:lnTo>
                    <a:pt x="407479" y="60529"/>
                  </a:lnTo>
                  <a:lnTo>
                    <a:pt x="406336" y="69335"/>
                  </a:lnTo>
                  <a:lnTo>
                    <a:pt x="391083" y="89395"/>
                  </a:lnTo>
                  <a:lnTo>
                    <a:pt x="393344" y="105930"/>
                  </a:lnTo>
                  <a:lnTo>
                    <a:pt x="424720" y="82222"/>
                  </a:lnTo>
                  <a:lnTo>
                    <a:pt x="428942" y="53936"/>
                  </a:lnTo>
                  <a:lnTo>
                    <a:pt x="429348" y="51231"/>
                  </a:lnTo>
                  <a:lnTo>
                    <a:pt x="430123" y="49339"/>
                  </a:lnTo>
                  <a:lnTo>
                    <a:pt x="432434" y="47129"/>
                  </a:lnTo>
                  <a:lnTo>
                    <a:pt x="434251" y="46583"/>
                  </a:lnTo>
                  <a:lnTo>
                    <a:pt x="468617" y="46583"/>
                  </a:lnTo>
                  <a:lnTo>
                    <a:pt x="468617" y="31102"/>
                  </a:lnTo>
                  <a:close/>
                </a:path>
                <a:path w="1039494" h="136525">
                  <a:moveTo>
                    <a:pt x="468617" y="46583"/>
                  </a:moveTo>
                  <a:lnTo>
                    <a:pt x="446379" y="46583"/>
                  </a:lnTo>
                  <a:lnTo>
                    <a:pt x="446379" y="105181"/>
                  </a:lnTo>
                  <a:lnTo>
                    <a:pt x="468617" y="105181"/>
                  </a:lnTo>
                  <a:lnTo>
                    <a:pt x="468617" y="46583"/>
                  </a:lnTo>
                  <a:close/>
                </a:path>
                <a:path w="1039494" h="136525">
                  <a:moveTo>
                    <a:pt x="327088" y="31102"/>
                  </a:moveTo>
                  <a:lnTo>
                    <a:pt x="309054" y="31102"/>
                  </a:lnTo>
                  <a:lnTo>
                    <a:pt x="309054" y="133718"/>
                  </a:lnTo>
                  <a:lnTo>
                    <a:pt x="331139" y="133718"/>
                  </a:lnTo>
                  <a:lnTo>
                    <a:pt x="331139" y="115836"/>
                  </a:lnTo>
                  <a:lnTo>
                    <a:pt x="331118" y="104305"/>
                  </a:lnTo>
                  <a:lnTo>
                    <a:pt x="330682" y="99910"/>
                  </a:lnTo>
                  <a:lnTo>
                    <a:pt x="375927" y="99910"/>
                  </a:lnTo>
                  <a:lnTo>
                    <a:pt x="376961" y="98640"/>
                  </a:lnTo>
                  <a:lnTo>
                    <a:pt x="379985" y="93590"/>
                  </a:lnTo>
                  <a:lnTo>
                    <a:pt x="380955" y="90601"/>
                  </a:lnTo>
                  <a:lnTo>
                    <a:pt x="344563" y="90601"/>
                  </a:lnTo>
                  <a:lnTo>
                    <a:pt x="338950" y="89598"/>
                  </a:lnTo>
                  <a:lnTo>
                    <a:pt x="331139" y="87591"/>
                  </a:lnTo>
                  <a:lnTo>
                    <a:pt x="331139" y="53644"/>
                  </a:lnTo>
                  <a:lnTo>
                    <a:pt x="338353" y="48933"/>
                  </a:lnTo>
                  <a:lnTo>
                    <a:pt x="344462" y="46583"/>
                  </a:lnTo>
                  <a:lnTo>
                    <a:pt x="380366" y="46583"/>
                  </a:lnTo>
                  <a:lnTo>
                    <a:pt x="378555" y="41922"/>
                  </a:lnTo>
                  <a:lnTo>
                    <a:pt x="328739" y="41922"/>
                  </a:lnTo>
                  <a:lnTo>
                    <a:pt x="327088" y="31102"/>
                  </a:lnTo>
                  <a:close/>
                </a:path>
                <a:path w="1039494" h="136525">
                  <a:moveTo>
                    <a:pt x="375927" y="99910"/>
                  </a:moveTo>
                  <a:lnTo>
                    <a:pt x="330682" y="99910"/>
                  </a:lnTo>
                  <a:lnTo>
                    <a:pt x="335897" y="103068"/>
                  </a:lnTo>
                  <a:lnTo>
                    <a:pt x="341769" y="105322"/>
                  </a:lnTo>
                  <a:lnTo>
                    <a:pt x="348299" y="106674"/>
                  </a:lnTo>
                  <a:lnTo>
                    <a:pt x="355485" y="107124"/>
                  </a:lnTo>
                  <a:lnTo>
                    <a:pt x="365188" y="107124"/>
                  </a:lnTo>
                  <a:lnTo>
                    <a:pt x="372351" y="104305"/>
                  </a:lnTo>
                  <a:lnTo>
                    <a:pt x="375927" y="99910"/>
                  </a:lnTo>
                  <a:close/>
                </a:path>
                <a:path w="1039494" h="136525">
                  <a:moveTo>
                    <a:pt x="380366" y="46583"/>
                  </a:moveTo>
                  <a:lnTo>
                    <a:pt x="353771" y="46583"/>
                  </a:lnTo>
                  <a:lnTo>
                    <a:pt x="356781" y="48107"/>
                  </a:lnTo>
                  <a:lnTo>
                    <a:pt x="360184" y="54216"/>
                  </a:lnTo>
                  <a:lnTo>
                    <a:pt x="361035" y="60096"/>
                  </a:lnTo>
                  <a:lnTo>
                    <a:pt x="361035" y="77724"/>
                  </a:lnTo>
                  <a:lnTo>
                    <a:pt x="360108" y="83591"/>
                  </a:lnTo>
                  <a:lnTo>
                    <a:pt x="356400" y="89204"/>
                  </a:lnTo>
                  <a:lnTo>
                    <a:pt x="352971" y="90601"/>
                  </a:lnTo>
                  <a:lnTo>
                    <a:pt x="380955" y="90601"/>
                  </a:lnTo>
                  <a:lnTo>
                    <a:pt x="382144" y="86936"/>
                  </a:lnTo>
                  <a:lnTo>
                    <a:pt x="383438" y="78679"/>
                  </a:lnTo>
                  <a:lnTo>
                    <a:pt x="383870" y="68821"/>
                  </a:lnTo>
                  <a:lnTo>
                    <a:pt x="382265" y="51469"/>
                  </a:lnTo>
                  <a:lnTo>
                    <a:pt x="380366" y="46583"/>
                  </a:lnTo>
                  <a:close/>
                </a:path>
                <a:path w="1039494" h="136525">
                  <a:moveTo>
                    <a:pt x="358178" y="29159"/>
                  </a:moveTo>
                  <a:lnTo>
                    <a:pt x="352577" y="29159"/>
                  </a:lnTo>
                  <a:lnTo>
                    <a:pt x="347040" y="30353"/>
                  </a:lnTo>
                  <a:lnTo>
                    <a:pt x="336118" y="35166"/>
                  </a:lnTo>
                  <a:lnTo>
                    <a:pt x="331838" y="38214"/>
                  </a:lnTo>
                  <a:lnTo>
                    <a:pt x="328739" y="41922"/>
                  </a:lnTo>
                  <a:lnTo>
                    <a:pt x="378555" y="41922"/>
                  </a:lnTo>
                  <a:lnTo>
                    <a:pt x="377448" y="39074"/>
                  </a:lnTo>
                  <a:lnTo>
                    <a:pt x="369420" y="31638"/>
                  </a:lnTo>
                  <a:lnTo>
                    <a:pt x="358178" y="29159"/>
                  </a:lnTo>
                  <a:close/>
                </a:path>
                <a:path w="1039494" h="136525">
                  <a:moveTo>
                    <a:pt x="253314" y="0"/>
                  </a:moveTo>
                  <a:lnTo>
                    <a:pt x="233324" y="0"/>
                  </a:lnTo>
                  <a:lnTo>
                    <a:pt x="233324" y="29298"/>
                  </a:lnTo>
                  <a:lnTo>
                    <a:pt x="223287" y="30520"/>
                  </a:lnTo>
                  <a:lnTo>
                    <a:pt x="193794" y="59172"/>
                  </a:lnTo>
                  <a:lnTo>
                    <a:pt x="193217" y="68211"/>
                  </a:lnTo>
                  <a:lnTo>
                    <a:pt x="193794" y="77182"/>
                  </a:lnTo>
                  <a:lnTo>
                    <a:pt x="223287" y="105467"/>
                  </a:lnTo>
                  <a:lnTo>
                    <a:pt x="233324" y="106680"/>
                  </a:lnTo>
                  <a:lnTo>
                    <a:pt x="233324" y="133718"/>
                  </a:lnTo>
                  <a:lnTo>
                    <a:pt x="253314" y="133718"/>
                  </a:lnTo>
                  <a:lnTo>
                    <a:pt x="253314" y="106680"/>
                  </a:lnTo>
                  <a:lnTo>
                    <a:pt x="263358" y="105467"/>
                  </a:lnTo>
                  <a:lnTo>
                    <a:pt x="288514" y="90601"/>
                  </a:lnTo>
                  <a:lnTo>
                    <a:pt x="234238" y="90601"/>
                  </a:lnTo>
                  <a:lnTo>
                    <a:pt x="226720" y="89903"/>
                  </a:lnTo>
                  <a:lnTo>
                    <a:pt x="221538" y="87947"/>
                  </a:lnTo>
                  <a:lnTo>
                    <a:pt x="215823" y="81534"/>
                  </a:lnTo>
                  <a:lnTo>
                    <a:pt x="214401" y="76034"/>
                  </a:lnTo>
                  <a:lnTo>
                    <a:pt x="214401" y="60299"/>
                  </a:lnTo>
                  <a:lnTo>
                    <a:pt x="215823" y="54686"/>
                  </a:lnTo>
                  <a:lnTo>
                    <a:pt x="221538" y="48082"/>
                  </a:lnTo>
                  <a:lnTo>
                    <a:pt x="226720" y="46075"/>
                  </a:lnTo>
                  <a:lnTo>
                    <a:pt x="234238" y="45377"/>
                  </a:lnTo>
                  <a:lnTo>
                    <a:pt x="288406" y="45377"/>
                  </a:lnTo>
                  <a:lnTo>
                    <a:pt x="288229" y="44980"/>
                  </a:lnTo>
                  <a:lnTo>
                    <a:pt x="253314" y="29298"/>
                  </a:lnTo>
                  <a:lnTo>
                    <a:pt x="253314" y="0"/>
                  </a:lnTo>
                  <a:close/>
                </a:path>
                <a:path w="1039494" h="136525">
                  <a:moveTo>
                    <a:pt x="252412" y="45377"/>
                  </a:moveTo>
                  <a:lnTo>
                    <a:pt x="234238" y="45377"/>
                  </a:lnTo>
                  <a:lnTo>
                    <a:pt x="234238" y="90601"/>
                  </a:lnTo>
                  <a:lnTo>
                    <a:pt x="252412" y="90601"/>
                  </a:lnTo>
                  <a:lnTo>
                    <a:pt x="252412" y="45377"/>
                  </a:lnTo>
                  <a:close/>
                </a:path>
                <a:path w="1039494" h="136525">
                  <a:moveTo>
                    <a:pt x="288406" y="45377"/>
                  </a:moveTo>
                  <a:lnTo>
                    <a:pt x="252412" y="45377"/>
                  </a:lnTo>
                  <a:lnTo>
                    <a:pt x="259930" y="46075"/>
                  </a:lnTo>
                  <a:lnTo>
                    <a:pt x="265099" y="48082"/>
                  </a:lnTo>
                  <a:lnTo>
                    <a:pt x="270814" y="54686"/>
                  </a:lnTo>
                  <a:lnTo>
                    <a:pt x="272237" y="60299"/>
                  </a:lnTo>
                  <a:lnTo>
                    <a:pt x="272237" y="76034"/>
                  </a:lnTo>
                  <a:lnTo>
                    <a:pt x="270814" y="81534"/>
                  </a:lnTo>
                  <a:lnTo>
                    <a:pt x="265099" y="87947"/>
                  </a:lnTo>
                  <a:lnTo>
                    <a:pt x="259930" y="89903"/>
                  </a:lnTo>
                  <a:lnTo>
                    <a:pt x="252412" y="90601"/>
                  </a:lnTo>
                  <a:lnTo>
                    <a:pt x="288514" y="90601"/>
                  </a:lnTo>
                  <a:lnTo>
                    <a:pt x="291114" y="84855"/>
                  </a:lnTo>
                  <a:lnTo>
                    <a:pt x="292844" y="77182"/>
                  </a:lnTo>
                  <a:lnTo>
                    <a:pt x="293420" y="68211"/>
                  </a:lnTo>
                  <a:lnTo>
                    <a:pt x="292844" y="59172"/>
                  </a:lnTo>
                  <a:lnTo>
                    <a:pt x="291114" y="51428"/>
                  </a:lnTo>
                  <a:lnTo>
                    <a:pt x="288406" y="45377"/>
                  </a:lnTo>
                  <a:close/>
                </a:path>
                <a:path w="1039494" h="136525">
                  <a:moveTo>
                    <a:pt x="177736" y="54686"/>
                  </a:moveTo>
                  <a:lnTo>
                    <a:pt x="158661" y="54686"/>
                  </a:lnTo>
                  <a:lnTo>
                    <a:pt x="158153" y="59702"/>
                  </a:lnTo>
                  <a:lnTo>
                    <a:pt x="158015" y="61950"/>
                  </a:lnTo>
                  <a:lnTo>
                    <a:pt x="157911" y="105321"/>
                  </a:lnTo>
                  <a:lnTo>
                    <a:pt x="177736" y="105321"/>
                  </a:lnTo>
                  <a:lnTo>
                    <a:pt x="177736" y="54686"/>
                  </a:lnTo>
                  <a:close/>
                </a:path>
                <a:path w="1039494" h="136525">
                  <a:moveTo>
                    <a:pt x="125310" y="31102"/>
                  </a:moveTo>
                  <a:lnTo>
                    <a:pt x="105625" y="31102"/>
                  </a:lnTo>
                  <a:lnTo>
                    <a:pt x="105625" y="105181"/>
                  </a:lnTo>
                  <a:lnTo>
                    <a:pt x="124548" y="105181"/>
                  </a:lnTo>
                  <a:lnTo>
                    <a:pt x="141237" y="81584"/>
                  </a:lnTo>
                  <a:lnTo>
                    <a:pt x="124548" y="81584"/>
                  </a:lnTo>
                  <a:lnTo>
                    <a:pt x="125056" y="77076"/>
                  </a:lnTo>
                  <a:lnTo>
                    <a:pt x="125206" y="74930"/>
                  </a:lnTo>
                  <a:lnTo>
                    <a:pt x="125310" y="31102"/>
                  </a:lnTo>
                  <a:close/>
                </a:path>
                <a:path w="1039494" h="136525">
                  <a:moveTo>
                    <a:pt x="177736" y="31102"/>
                  </a:moveTo>
                  <a:lnTo>
                    <a:pt x="158813" y="31102"/>
                  </a:lnTo>
                  <a:lnTo>
                    <a:pt x="130568" y="71526"/>
                  </a:lnTo>
                  <a:lnTo>
                    <a:pt x="128168" y="74930"/>
                  </a:lnTo>
                  <a:lnTo>
                    <a:pt x="126314" y="78282"/>
                  </a:lnTo>
                  <a:lnTo>
                    <a:pt x="125006" y="81584"/>
                  </a:lnTo>
                  <a:lnTo>
                    <a:pt x="141237" y="81584"/>
                  </a:lnTo>
                  <a:lnTo>
                    <a:pt x="152501" y="65659"/>
                  </a:lnTo>
                  <a:lnTo>
                    <a:pt x="155105" y="61950"/>
                  </a:lnTo>
                  <a:lnTo>
                    <a:pt x="156959" y="58305"/>
                  </a:lnTo>
                  <a:lnTo>
                    <a:pt x="158064" y="54686"/>
                  </a:lnTo>
                  <a:lnTo>
                    <a:pt x="177736" y="54686"/>
                  </a:lnTo>
                  <a:lnTo>
                    <a:pt x="177736" y="31102"/>
                  </a:lnTo>
                  <a:close/>
                </a:path>
                <a:path w="1039494" h="136525">
                  <a:moveTo>
                    <a:pt x="22847" y="1498"/>
                  </a:moveTo>
                  <a:lnTo>
                    <a:pt x="0" y="1498"/>
                  </a:lnTo>
                  <a:lnTo>
                    <a:pt x="0" y="105181"/>
                  </a:lnTo>
                  <a:lnTo>
                    <a:pt x="74675" y="105181"/>
                  </a:lnTo>
                  <a:lnTo>
                    <a:pt x="76479" y="127863"/>
                  </a:lnTo>
                  <a:lnTo>
                    <a:pt x="92709" y="127863"/>
                  </a:lnTo>
                  <a:lnTo>
                    <a:pt x="92709" y="88646"/>
                  </a:lnTo>
                  <a:lnTo>
                    <a:pt x="22847" y="88646"/>
                  </a:lnTo>
                  <a:lnTo>
                    <a:pt x="22847" y="1498"/>
                  </a:lnTo>
                  <a:close/>
                </a:path>
                <a:path w="1039494" h="136525">
                  <a:moveTo>
                    <a:pt x="80378" y="1498"/>
                  </a:moveTo>
                  <a:lnTo>
                    <a:pt x="57391" y="1498"/>
                  </a:lnTo>
                  <a:lnTo>
                    <a:pt x="57391" y="88646"/>
                  </a:lnTo>
                  <a:lnTo>
                    <a:pt x="80378" y="88646"/>
                  </a:lnTo>
                  <a:lnTo>
                    <a:pt x="80378" y="1498"/>
                  </a:lnTo>
                  <a:close/>
                </a:path>
              </a:pathLst>
            </a:custGeom>
            <a:solidFill>
              <a:srgbClr val="1F385D"/>
            </a:solidFill>
          </p:spPr>
          <p:txBody>
            <a:bodyPr wrap="square" lIns="0" tIns="0" rIns="0" bIns="0" rtlCol="0"/>
            <a:lstStyle/>
            <a:p>
              <a:endParaRPr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</p:grpSp>
      <p:sp>
        <p:nvSpPr>
          <p:cNvPr id="31" name="object 27">
            <a:extLst>
              <a:ext uri="{FF2B5EF4-FFF2-40B4-BE49-F238E27FC236}">
                <a16:creationId xmlns:a16="http://schemas.microsoft.com/office/drawing/2014/main" id="{39CDAC3E-989D-4665-84A3-DF7EF488F299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67A235C-A392-402F-871C-33A5D60A0D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9050"/>
            <a:ext cx="12134850" cy="68389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FF4C908-5D84-4716-ABC1-8D35B5728E45}"/>
              </a:ext>
            </a:extLst>
          </p:cNvPr>
          <p:cNvSpPr txBox="1"/>
          <p:nvPr/>
        </p:nvSpPr>
        <p:spPr>
          <a:xfrm>
            <a:off x="3391802" y="296344"/>
            <a:ext cx="79635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000" b="1" dirty="0" err="1">
                <a:latin typeface="Century Gothic" panose="020B0502020202020204" pitchFamily="34" charset="0"/>
              </a:rPr>
              <a:t>ThoughtLab</a:t>
            </a:r>
            <a:r>
              <a:rPr lang="en-US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Консультативтік</a:t>
            </a:r>
            <a:r>
              <a:rPr lang="ru-RU" sz="2000" b="1" dirty="0">
                <a:latin typeface="Century Gothic" panose="020B0502020202020204" pitchFamily="34" charset="0"/>
              </a:rPr>
              <a:t> </a:t>
            </a:r>
            <a:r>
              <a:rPr lang="ru-RU" sz="2000" b="1" dirty="0" err="1">
                <a:latin typeface="Century Gothic" panose="020B0502020202020204" pitchFamily="34" charset="0"/>
              </a:rPr>
              <a:t>кеңесі</a:t>
            </a:r>
            <a:r>
              <a:rPr lang="ru-RU" sz="2000" dirty="0">
                <a:latin typeface="Century Gothic" panose="020B0502020202020204" pitchFamily="34" charset="0"/>
              </a:rPr>
              <a:t>-</a:t>
            </a:r>
          </a:p>
          <a:p>
            <a:pPr algn="r"/>
            <a:r>
              <a:rPr lang="ru-RU" sz="2000" dirty="0" err="1">
                <a:latin typeface="Century Gothic" panose="020B0502020202020204" pitchFamily="34" charset="0"/>
              </a:rPr>
              <a:t>әлемнің</a:t>
            </a:r>
            <a:r>
              <a:rPr lang="ru-RU" sz="2000" dirty="0">
                <a:latin typeface="Century Gothic" panose="020B0502020202020204" pitchFamily="34" charset="0"/>
              </a:rPr>
              <a:t> </a:t>
            </a:r>
            <a:r>
              <a:rPr lang="ru-RU" sz="2000" dirty="0" err="1">
                <a:latin typeface="Century Gothic" panose="020B0502020202020204" pitchFamily="34" charset="0"/>
              </a:rPr>
              <a:t>ірі</a:t>
            </a:r>
            <a:r>
              <a:rPr lang="ru-RU" sz="2000" dirty="0">
                <a:latin typeface="Century Gothic" panose="020B0502020202020204" pitchFamily="34" charset="0"/>
              </a:rPr>
              <a:t> </a:t>
            </a:r>
            <a:r>
              <a:rPr lang="ru-RU" sz="2000" dirty="0" err="1">
                <a:latin typeface="Century Gothic" panose="020B0502020202020204" pitchFamily="34" charset="0"/>
              </a:rPr>
              <a:t>қалаларын</a:t>
            </a:r>
            <a:r>
              <a:rPr lang="ru-RU" sz="2000" dirty="0">
                <a:latin typeface="Century Gothic" panose="020B0502020202020204" pitchFamily="34" charset="0"/>
              </a:rPr>
              <a:t> </a:t>
            </a:r>
            <a:r>
              <a:rPr lang="ru-RU" sz="2000" dirty="0" err="1">
                <a:latin typeface="Century Gothic" panose="020B0502020202020204" pitchFamily="34" charset="0"/>
              </a:rPr>
              <a:t>дамыту</a:t>
            </a:r>
            <a:r>
              <a:rPr lang="ru-RU" sz="2000" dirty="0">
                <a:latin typeface="Century Gothic" panose="020B0502020202020204" pitchFamily="34" charset="0"/>
              </a:rPr>
              <a:t> </a:t>
            </a:r>
            <a:r>
              <a:rPr lang="ru-RU" sz="2000" dirty="0" err="1">
                <a:latin typeface="Century Gothic" panose="020B0502020202020204" pitchFamily="34" charset="0"/>
              </a:rPr>
              <a:t>жөніндегі</a:t>
            </a:r>
            <a:r>
              <a:rPr lang="ru-RU" sz="2000" dirty="0">
                <a:latin typeface="Century Gothic" panose="020B0502020202020204" pitchFamily="34" charset="0"/>
              </a:rPr>
              <a:t> </a:t>
            </a:r>
            <a:r>
              <a:rPr lang="ru-RU" sz="2000" dirty="0" err="1">
                <a:latin typeface="Century Gothic" panose="020B0502020202020204" pitchFamily="34" charset="0"/>
              </a:rPr>
              <a:t>ұйымдар</a:t>
            </a:r>
            <a:endParaRPr lang="ru-RU" sz="20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971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" y="2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31" name="Группа 30"/>
          <p:cNvGrpSpPr/>
          <p:nvPr/>
        </p:nvGrpSpPr>
        <p:grpSpPr>
          <a:xfrm>
            <a:off x="179833" y="178307"/>
            <a:ext cx="11832336" cy="6501384"/>
            <a:chOff x="275623" y="485074"/>
            <a:chExt cx="11832336" cy="6501384"/>
          </a:xfrm>
        </p:grpSpPr>
        <p:sp>
          <p:nvSpPr>
            <p:cNvPr id="2" name="object 2"/>
            <p:cNvSpPr/>
            <p:nvPr/>
          </p:nvSpPr>
          <p:spPr>
            <a:xfrm>
              <a:off x="275789" y="486770"/>
              <a:ext cx="11832005" cy="6497993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40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75623" y="485074"/>
              <a:ext cx="11832336" cy="6501384"/>
            </a:xfrm>
            <a:prstGeom prst="rect">
              <a:avLst/>
            </a:prstGeom>
            <a:solidFill>
              <a:srgbClr val="1F385D">
                <a:alpha val="9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773317" y="762001"/>
            <a:ext cx="3341484" cy="702091"/>
            <a:chOff x="773316" y="773317"/>
            <a:chExt cx="3572756" cy="75068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73316" y="773317"/>
              <a:ext cx="3572756" cy="750684"/>
              <a:chOff x="1973415" y="39706"/>
              <a:chExt cx="8351686" cy="1754802"/>
            </a:xfrm>
          </p:grpSpPr>
          <p:pic>
            <p:nvPicPr>
              <p:cNvPr id="21" name="Рисунок 20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138738" y="110040"/>
                <a:ext cx="5186363" cy="1604999"/>
              </a:xfrm>
              <a:prstGeom prst="rect">
                <a:avLst/>
              </a:prstGeom>
            </p:spPr>
          </p:pic>
          <p:pic>
            <p:nvPicPr>
              <p:cNvPr id="22" name="Рисунок 21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3415" y="39706"/>
                <a:ext cx="1754801" cy="1754802"/>
              </a:xfrm>
              <a:prstGeom prst="rect">
                <a:avLst/>
              </a:prstGeom>
            </p:spPr>
          </p:pic>
        </p:grp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828800" y="856034"/>
              <a:ext cx="0" cy="658239"/>
            </a:xfrm>
            <a:prstGeom prst="line">
              <a:avLst/>
            </a:prstGeom>
            <a:ln>
              <a:solidFill>
                <a:schemeClr val="bg1">
                  <a:lumMod val="75000"/>
                  <a:alpha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object 8">
            <a:extLst>
              <a:ext uri="{FF2B5EF4-FFF2-40B4-BE49-F238E27FC236}">
                <a16:creationId xmlns:a16="http://schemas.microsoft.com/office/drawing/2014/main" id="{FF8B1D8F-9F42-4D85-BDA9-E05E0730DA33}"/>
              </a:ext>
            </a:extLst>
          </p:cNvPr>
          <p:cNvSpPr txBox="1">
            <a:spLocks/>
          </p:cNvSpPr>
          <p:nvPr/>
        </p:nvSpPr>
        <p:spPr>
          <a:xfrm>
            <a:off x="228600" y="4495800"/>
            <a:ext cx="11658600" cy="42428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2000" b="1" i="0">
                <a:solidFill>
                  <a:srgbClr val="1F385D"/>
                </a:solidFill>
                <a:latin typeface="Gotham"/>
                <a:ea typeface="+mj-ea"/>
                <a:cs typeface="Gotham"/>
              </a:defRPr>
            </a:lvl1pPr>
          </a:lstStyle>
          <a:p>
            <a:pPr marL="12700" marR="5080" algn="r">
              <a:lnSpc>
                <a:spcPct val="150000"/>
              </a:lnSpc>
              <a:spcBef>
                <a:spcPts val="100"/>
              </a:spcBef>
              <a:tabLst>
                <a:tab pos="1936114" algn="l"/>
                <a:tab pos="2169795" algn="l"/>
                <a:tab pos="3376929" algn="l"/>
                <a:tab pos="4213225" algn="l"/>
                <a:tab pos="6055995" algn="l"/>
              </a:tabLst>
            </a:pP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«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Ақылды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қала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»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жобаларын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басқару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бөлімінің</a:t>
            </a:r>
            <a:r>
              <a:rPr lang="ru-RU" kern="0" spc="100" dirty="0">
                <a:solidFill>
                  <a:srgbClr val="FFFFFF"/>
                </a:solidFill>
                <a:latin typeface="Century Gothic" pitchFamily="34" charset="0"/>
              </a:rPr>
              <a:t> </a:t>
            </a:r>
            <a:r>
              <a:rPr lang="ru-RU" kern="0" spc="100" dirty="0" err="1">
                <a:solidFill>
                  <a:srgbClr val="FFFFFF"/>
                </a:solidFill>
                <a:latin typeface="Century Gothic" pitchFamily="34" charset="0"/>
              </a:rPr>
              <a:t>есебі</a:t>
            </a:r>
            <a:endParaRPr lang="ru-RU" kern="0" spc="100" dirty="0">
              <a:solidFill>
                <a:srgbClr val="FFFFFF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654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2">
            <a:extLst>
              <a:ext uri="{FF2B5EF4-FFF2-40B4-BE49-F238E27FC236}">
                <a16:creationId xmlns:a16="http://schemas.microsoft.com/office/drawing/2014/main" id="{449F4B07-A792-4FE7-8E17-8FC24BDECCE6}"/>
              </a:ext>
            </a:extLst>
          </p:cNvPr>
          <p:cNvSpPr/>
          <p:nvPr/>
        </p:nvSpPr>
        <p:spPr>
          <a:xfrm>
            <a:off x="179997" y="179997"/>
            <a:ext cx="11832590" cy="6498590"/>
          </a:xfrm>
          <a:custGeom>
            <a:avLst/>
            <a:gdLst/>
            <a:ahLst/>
            <a:cxnLst/>
            <a:rect l="l" t="t" r="r" b="b"/>
            <a:pathLst>
              <a:path w="11832590" h="6498590">
                <a:moveTo>
                  <a:pt x="0" y="0"/>
                </a:moveTo>
                <a:lnTo>
                  <a:pt x="11832005" y="0"/>
                </a:lnTo>
                <a:lnTo>
                  <a:pt x="11832005" y="6498005"/>
                </a:lnTo>
                <a:lnTo>
                  <a:pt x="0" y="6498005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EE3235"/>
            </a:solidFill>
          </a:ln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5" name="object 24">
            <a:extLst>
              <a:ext uri="{FF2B5EF4-FFF2-40B4-BE49-F238E27FC236}">
                <a16:creationId xmlns:a16="http://schemas.microsoft.com/office/drawing/2014/main" id="{778D342C-B49F-43DC-A14A-CAE017493CE5}"/>
              </a:ext>
            </a:extLst>
          </p:cNvPr>
          <p:cNvSpPr/>
          <p:nvPr/>
        </p:nvSpPr>
        <p:spPr>
          <a:xfrm>
            <a:off x="768430" y="314360"/>
            <a:ext cx="720725" cy="70485"/>
          </a:xfrm>
          <a:custGeom>
            <a:avLst/>
            <a:gdLst/>
            <a:ahLst/>
            <a:cxnLst/>
            <a:rect l="l" t="t" r="r" b="b"/>
            <a:pathLst>
              <a:path w="720725" h="70484">
                <a:moveTo>
                  <a:pt x="672896" y="20205"/>
                </a:moveTo>
                <a:lnTo>
                  <a:pt x="664641" y="20205"/>
                </a:lnTo>
                <a:lnTo>
                  <a:pt x="664641" y="68656"/>
                </a:lnTo>
                <a:lnTo>
                  <a:pt x="664933" y="68656"/>
                </a:lnTo>
                <a:lnTo>
                  <a:pt x="670039" y="69062"/>
                </a:lnTo>
                <a:lnTo>
                  <a:pt x="676935" y="69265"/>
                </a:lnTo>
                <a:lnTo>
                  <a:pt x="692073" y="69265"/>
                </a:lnTo>
                <a:lnTo>
                  <a:pt x="696607" y="68186"/>
                </a:lnTo>
                <a:lnTo>
                  <a:pt x="701916" y="63868"/>
                </a:lnTo>
                <a:lnTo>
                  <a:pt x="702343" y="62598"/>
                </a:lnTo>
                <a:lnTo>
                  <a:pt x="684339" y="62598"/>
                </a:lnTo>
                <a:lnTo>
                  <a:pt x="672896" y="62496"/>
                </a:lnTo>
                <a:lnTo>
                  <a:pt x="672896" y="45275"/>
                </a:lnTo>
                <a:lnTo>
                  <a:pt x="702162" y="45275"/>
                </a:lnTo>
                <a:lnTo>
                  <a:pt x="701890" y="44488"/>
                </a:lnTo>
                <a:lnTo>
                  <a:pt x="696442" y="40106"/>
                </a:lnTo>
                <a:lnTo>
                  <a:pt x="691502" y="39001"/>
                </a:lnTo>
                <a:lnTo>
                  <a:pt x="672896" y="39001"/>
                </a:lnTo>
                <a:lnTo>
                  <a:pt x="672896" y="20205"/>
                </a:lnTo>
                <a:close/>
              </a:path>
              <a:path w="720725" h="70484">
                <a:moveTo>
                  <a:pt x="702162" y="45275"/>
                </a:moveTo>
                <a:lnTo>
                  <a:pt x="688314" y="45275"/>
                </a:lnTo>
                <a:lnTo>
                  <a:pt x="691045" y="45885"/>
                </a:lnTo>
                <a:lnTo>
                  <a:pt x="693953" y="48348"/>
                </a:lnTo>
                <a:lnTo>
                  <a:pt x="694690" y="50584"/>
                </a:lnTo>
                <a:lnTo>
                  <a:pt x="694690" y="57353"/>
                </a:lnTo>
                <a:lnTo>
                  <a:pt x="693940" y="59689"/>
                </a:lnTo>
                <a:lnTo>
                  <a:pt x="690956" y="62014"/>
                </a:lnTo>
                <a:lnTo>
                  <a:pt x="688251" y="62598"/>
                </a:lnTo>
                <a:lnTo>
                  <a:pt x="702343" y="62598"/>
                </a:lnTo>
                <a:lnTo>
                  <a:pt x="703249" y="59905"/>
                </a:lnTo>
                <a:lnTo>
                  <a:pt x="703223" y="48348"/>
                </a:lnTo>
                <a:lnTo>
                  <a:pt x="702162" y="45275"/>
                </a:lnTo>
                <a:close/>
              </a:path>
              <a:path w="720725" h="70484">
                <a:moveTo>
                  <a:pt x="720661" y="20205"/>
                </a:moveTo>
                <a:lnTo>
                  <a:pt x="712101" y="20205"/>
                </a:lnTo>
                <a:lnTo>
                  <a:pt x="712101" y="68656"/>
                </a:lnTo>
                <a:lnTo>
                  <a:pt x="720661" y="68656"/>
                </a:lnTo>
                <a:lnTo>
                  <a:pt x="720661" y="20205"/>
                </a:lnTo>
                <a:close/>
              </a:path>
              <a:path w="720725" h="70484">
                <a:moveTo>
                  <a:pt x="642747" y="19011"/>
                </a:moveTo>
                <a:lnTo>
                  <a:pt x="628015" y="19011"/>
                </a:lnTo>
                <a:lnTo>
                  <a:pt x="622096" y="20916"/>
                </a:lnTo>
                <a:lnTo>
                  <a:pt x="615124" y="28549"/>
                </a:lnTo>
                <a:lnTo>
                  <a:pt x="613384" y="35090"/>
                </a:lnTo>
                <a:lnTo>
                  <a:pt x="613384" y="53733"/>
                </a:lnTo>
                <a:lnTo>
                  <a:pt x="615111" y="60324"/>
                </a:lnTo>
                <a:lnTo>
                  <a:pt x="622007" y="67944"/>
                </a:lnTo>
                <a:lnTo>
                  <a:pt x="627951" y="69862"/>
                </a:lnTo>
                <a:lnTo>
                  <a:pt x="642683" y="69862"/>
                </a:lnTo>
                <a:lnTo>
                  <a:pt x="648182" y="69024"/>
                </a:lnTo>
                <a:lnTo>
                  <a:pt x="652894" y="67373"/>
                </a:lnTo>
                <a:lnTo>
                  <a:pt x="652235" y="62699"/>
                </a:lnTo>
                <a:lnTo>
                  <a:pt x="631926" y="62699"/>
                </a:lnTo>
                <a:lnTo>
                  <a:pt x="627888" y="61404"/>
                </a:lnTo>
                <a:lnTo>
                  <a:pt x="623379" y="56222"/>
                </a:lnTo>
                <a:lnTo>
                  <a:pt x="622249" y="51409"/>
                </a:lnTo>
                <a:lnTo>
                  <a:pt x="622249" y="37414"/>
                </a:lnTo>
                <a:lnTo>
                  <a:pt x="623392" y="32638"/>
                </a:lnTo>
                <a:lnTo>
                  <a:pt x="627964" y="27470"/>
                </a:lnTo>
                <a:lnTo>
                  <a:pt x="631990" y="26174"/>
                </a:lnTo>
                <a:lnTo>
                  <a:pt x="651019" y="26174"/>
                </a:lnTo>
                <a:lnTo>
                  <a:pt x="651992" y="21297"/>
                </a:lnTo>
                <a:lnTo>
                  <a:pt x="647954" y="19773"/>
                </a:lnTo>
                <a:lnTo>
                  <a:pt x="642747" y="19011"/>
                </a:lnTo>
                <a:close/>
              </a:path>
              <a:path w="720725" h="70484">
                <a:moveTo>
                  <a:pt x="652094" y="61696"/>
                </a:moveTo>
                <a:lnTo>
                  <a:pt x="647915" y="62356"/>
                </a:lnTo>
                <a:lnTo>
                  <a:pt x="643140" y="62699"/>
                </a:lnTo>
                <a:lnTo>
                  <a:pt x="652235" y="62699"/>
                </a:lnTo>
                <a:lnTo>
                  <a:pt x="652094" y="61696"/>
                </a:lnTo>
                <a:close/>
              </a:path>
              <a:path w="720725" h="70484">
                <a:moveTo>
                  <a:pt x="651019" y="26174"/>
                </a:moveTo>
                <a:lnTo>
                  <a:pt x="642150" y="26174"/>
                </a:lnTo>
                <a:lnTo>
                  <a:pt x="646518" y="26365"/>
                </a:lnTo>
                <a:lnTo>
                  <a:pt x="650900" y="26771"/>
                </a:lnTo>
                <a:lnTo>
                  <a:pt x="651019" y="26174"/>
                </a:lnTo>
                <a:close/>
              </a:path>
              <a:path w="720725" h="70484">
                <a:moveTo>
                  <a:pt x="599338" y="26174"/>
                </a:moveTo>
                <a:lnTo>
                  <a:pt x="585660" y="26174"/>
                </a:lnTo>
                <a:lnTo>
                  <a:pt x="588213" y="26796"/>
                </a:lnTo>
                <a:lnTo>
                  <a:pt x="590994" y="29324"/>
                </a:lnTo>
                <a:lnTo>
                  <a:pt x="591731" y="31483"/>
                </a:lnTo>
                <a:lnTo>
                  <a:pt x="591794" y="38811"/>
                </a:lnTo>
                <a:lnTo>
                  <a:pt x="567347" y="38811"/>
                </a:lnTo>
                <a:lnTo>
                  <a:pt x="564045" y="39852"/>
                </a:lnTo>
                <a:lnTo>
                  <a:pt x="559333" y="44030"/>
                </a:lnTo>
                <a:lnTo>
                  <a:pt x="558152" y="46964"/>
                </a:lnTo>
                <a:lnTo>
                  <a:pt x="558152" y="60337"/>
                </a:lnTo>
                <a:lnTo>
                  <a:pt x="559447" y="63665"/>
                </a:lnTo>
                <a:lnTo>
                  <a:pt x="564629" y="68376"/>
                </a:lnTo>
                <a:lnTo>
                  <a:pt x="568134" y="69557"/>
                </a:lnTo>
                <a:lnTo>
                  <a:pt x="576630" y="69557"/>
                </a:lnTo>
                <a:lnTo>
                  <a:pt x="580402" y="68681"/>
                </a:lnTo>
                <a:lnTo>
                  <a:pt x="587362" y="65163"/>
                </a:lnTo>
                <a:lnTo>
                  <a:pt x="590270" y="63093"/>
                </a:lnTo>
                <a:lnTo>
                  <a:pt x="590987" y="62356"/>
                </a:lnTo>
                <a:lnTo>
                  <a:pt x="576859" y="62356"/>
                </a:lnTo>
                <a:lnTo>
                  <a:pt x="574281" y="62293"/>
                </a:lnTo>
                <a:lnTo>
                  <a:pt x="571690" y="62293"/>
                </a:lnTo>
                <a:lnTo>
                  <a:pt x="569785" y="61709"/>
                </a:lnTo>
                <a:lnTo>
                  <a:pt x="567321" y="59385"/>
                </a:lnTo>
                <a:lnTo>
                  <a:pt x="566724" y="57543"/>
                </a:lnTo>
                <a:lnTo>
                  <a:pt x="566724" y="47701"/>
                </a:lnTo>
                <a:lnTo>
                  <a:pt x="568845" y="45478"/>
                </a:lnTo>
                <a:lnTo>
                  <a:pt x="573087" y="45275"/>
                </a:lnTo>
                <a:lnTo>
                  <a:pt x="600252" y="45275"/>
                </a:lnTo>
                <a:lnTo>
                  <a:pt x="600252" y="28892"/>
                </a:lnTo>
                <a:lnTo>
                  <a:pt x="599338" y="26174"/>
                </a:lnTo>
                <a:close/>
              </a:path>
              <a:path w="720725" h="70484">
                <a:moveTo>
                  <a:pt x="600252" y="60705"/>
                </a:moveTo>
                <a:lnTo>
                  <a:pt x="592594" y="60705"/>
                </a:lnTo>
                <a:lnTo>
                  <a:pt x="593585" y="68656"/>
                </a:lnTo>
                <a:lnTo>
                  <a:pt x="600252" y="68656"/>
                </a:lnTo>
                <a:lnTo>
                  <a:pt x="600252" y="60705"/>
                </a:lnTo>
                <a:close/>
              </a:path>
              <a:path w="720725" h="70484">
                <a:moveTo>
                  <a:pt x="600252" y="45275"/>
                </a:moveTo>
                <a:lnTo>
                  <a:pt x="591794" y="45275"/>
                </a:lnTo>
                <a:lnTo>
                  <a:pt x="591794" y="55029"/>
                </a:lnTo>
                <a:lnTo>
                  <a:pt x="589076" y="57416"/>
                </a:lnTo>
                <a:lnTo>
                  <a:pt x="586117" y="59245"/>
                </a:lnTo>
                <a:lnTo>
                  <a:pt x="579755" y="61760"/>
                </a:lnTo>
                <a:lnTo>
                  <a:pt x="576859" y="62356"/>
                </a:lnTo>
                <a:lnTo>
                  <a:pt x="590987" y="62356"/>
                </a:lnTo>
                <a:lnTo>
                  <a:pt x="592594" y="60705"/>
                </a:lnTo>
                <a:lnTo>
                  <a:pt x="600252" y="60705"/>
                </a:lnTo>
                <a:lnTo>
                  <a:pt x="600252" y="45275"/>
                </a:lnTo>
                <a:close/>
              </a:path>
              <a:path w="720725" h="70484">
                <a:moveTo>
                  <a:pt x="589368" y="19011"/>
                </a:moveTo>
                <a:lnTo>
                  <a:pt x="577100" y="19011"/>
                </a:lnTo>
                <a:lnTo>
                  <a:pt x="569264" y="19735"/>
                </a:lnTo>
                <a:lnTo>
                  <a:pt x="560247" y="21196"/>
                </a:lnTo>
                <a:lnTo>
                  <a:pt x="561047" y="27470"/>
                </a:lnTo>
                <a:lnTo>
                  <a:pt x="570268" y="26606"/>
                </a:lnTo>
                <a:lnTo>
                  <a:pt x="577227" y="26174"/>
                </a:lnTo>
                <a:lnTo>
                  <a:pt x="599338" y="26174"/>
                </a:lnTo>
                <a:lnTo>
                  <a:pt x="598906" y="24891"/>
                </a:lnTo>
                <a:lnTo>
                  <a:pt x="593534" y="20180"/>
                </a:lnTo>
                <a:lnTo>
                  <a:pt x="589368" y="19011"/>
                </a:lnTo>
                <a:close/>
              </a:path>
              <a:path w="720725" h="70484">
                <a:moveTo>
                  <a:pt x="544918" y="20205"/>
                </a:moveTo>
                <a:lnTo>
                  <a:pt x="520344" y="20205"/>
                </a:lnTo>
                <a:lnTo>
                  <a:pt x="517359" y="21132"/>
                </a:lnTo>
                <a:lnTo>
                  <a:pt x="513372" y="24841"/>
                </a:lnTo>
                <a:lnTo>
                  <a:pt x="512152" y="27698"/>
                </a:lnTo>
                <a:lnTo>
                  <a:pt x="511683" y="31546"/>
                </a:lnTo>
                <a:lnTo>
                  <a:pt x="510425" y="43751"/>
                </a:lnTo>
                <a:lnTo>
                  <a:pt x="509003" y="51879"/>
                </a:lnTo>
                <a:lnTo>
                  <a:pt x="498856" y="62699"/>
                </a:lnTo>
                <a:lnTo>
                  <a:pt x="499745" y="69164"/>
                </a:lnTo>
                <a:lnTo>
                  <a:pt x="519645" y="32931"/>
                </a:lnTo>
                <a:lnTo>
                  <a:pt x="519976" y="30683"/>
                </a:lnTo>
                <a:lnTo>
                  <a:pt x="520598" y="29108"/>
                </a:lnTo>
                <a:lnTo>
                  <a:pt x="522376" y="27317"/>
                </a:lnTo>
                <a:lnTo>
                  <a:pt x="523862" y="26873"/>
                </a:lnTo>
                <a:lnTo>
                  <a:pt x="544918" y="26873"/>
                </a:lnTo>
                <a:lnTo>
                  <a:pt x="544918" y="20205"/>
                </a:lnTo>
                <a:close/>
              </a:path>
              <a:path w="720725" h="70484">
                <a:moveTo>
                  <a:pt x="544918" y="26873"/>
                </a:moveTo>
                <a:lnTo>
                  <a:pt x="536460" y="26873"/>
                </a:lnTo>
                <a:lnTo>
                  <a:pt x="536460" y="68656"/>
                </a:lnTo>
                <a:lnTo>
                  <a:pt x="544918" y="68656"/>
                </a:lnTo>
                <a:lnTo>
                  <a:pt x="544918" y="26873"/>
                </a:lnTo>
                <a:close/>
              </a:path>
              <a:path w="720725" h="70484">
                <a:moveTo>
                  <a:pt x="488479" y="26174"/>
                </a:moveTo>
                <a:lnTo>
                  <a:pt x="474802" y="26174"/>
                </a:lnTo>
                <a:lnTo>
                  <a:pt x="477354" y="26796"/>
                </a:lnTo>
                <a:lnTo>
                  <a:pt x="480148" y="29324"/>
                </a:lnTo>
                <a:lnTo>
                  <a:pt x="480872" y="31483"/>
                </a:lnTo>
                <a:lnTo>
                  <a:pt x="480936" y="38811"/>
                </a:lnTo>
                <a:lnTo>
                  <a:pt x="456488" y="38811"/>
                </a:lnTo>
                <a:lnTo>
                  <a:pt x="453199" y="39852"/>
                </a:lnTo>
                <a:lnTo>
                  <a:pt x="448487" y="44030"/>
                </a:lnTo>
                <a:lnTo>
                  <a:pt x="447306" y="46964"/>
                </a:lnTo>
                <a:lnTo>
                  <a:pt x="447306" y="60337"/>
                </a:lnTo>
                <a:lnTo>
                  <a:pt x="448589" y="63665"/>
                </a:lnTo>
                <a:lnTo>
                  <a:pt x="453771" y="68376"/>
                </a:lnTo>
                <a:lnTo>
                  <a:pt x="457288" y="69557"/>
                </a:lnTo>
                <a:lnTo>
                  <a:pt x="465772" y="69557"/>
                </a:lnTo>
                <a:lnTo>
                  <a:pt x="469544" y="68681"/>
                </a:lnTo>
                <a:lnTo>
                  <a:pt x="476516" y="65163"/>
                </a:lnTo>
                <a:lnTo>
                  <a:pt x="479412" y="63093"/>
                </a:lnTo>
                <a:lnTo>
                  <a:pt x="480129" y="62356"/>
                </a:lnTo>
                <a:lnTo>
                  <a:pt x="466013" y="62356"/>
                </a:lnTo>
                <a:lnTo>
                  <a:pt x="463423" y="62293"/>
                </a:lnTo>
                <a:lnTo>
                  <a:pt x="460844" y="62293"/>
                </a:lnTo>
                <a:lnTo>
                  <a:pt x="458927" y="61709"/>
                </a:lnTo>
                <a:lnTo>
                  <a:pt x="456476" y="59385"/>
                </a:lnTo>
                <a:lnTo>
                  <a:pt x="455866" y="57543"/>
                </a:lnTo>
                <a:lnTo>
                  <a:pt x="455866" y="47701"/>
                </a:lnTo>
                <a:lnTo>
                  <a:pt x="457987" y="45478"/>
                </a:lnTo>
                <a:lnTo>
                  <a:pt x="462229" y="45275"/>
                </a:lnTo>
                <a:lnTo>
                  <a:pt x="489394" y="45275"/>
                </a:lnTo>
                <a:lnTo>
                  <a:pt x="489394" y="28892"/>
                </a:lnTo>
                <a:lnTo>
                  <a:pt x="488479" y="26174"/>
                </a:lnTo>
                <a:close/>
              </a:path>
              <a:path w="720725" h="70484">
                <a:moveTo>
                  <a:pt x="489394" y="60705"/>
                </a:moveTo>
                <a:lnTo>
                  <a:pt x="481736" y="60705"/>
                </a:lnTo>
                <a:lnTo>
                  <a:pt x="482727" y="68656"/>
                </a:lnTo>
                <a:lnTo>
                  <a:pt x="489394" y="68656"/>
                </a:lnTo>
                <a:lnTo>
                  <a:pt x="489394" y="60705"/>
                </a:lnTo>
                <a:close/>
              </a:path>
              <a:path w="720725" h="70484">
                <a:moveTo>
                  <a:pt x="489394" y="45275"/>
                </a:moveTo>
                <a:lnTo>
                  <a:pt x="480936" y="45275"/>
                </a:lnTo>
                <a:lnTo>
                  <a:pt x="480936" y="55029"/>
                </a:lnTo>
                <a:lnTo>
                  <a:pt x="478218" y="57416"/>
                </a:lnTo>
                <a:lnTo>
                  <a:pt x="475259" y="59245"/>
                </a:lnTo>
                <a:lnTo>
                  <a:pt x="468896" y="61760"/>
                </a:lnTo>
                <a:lnTo>
                  <a:pt x="466013" y="62356"/>
                </a:lnTo>
                <a:lnTo>
                  <a:pt x="480129" y="62356"/>
                </a:lnTo>
                <a:lnTo>
                  <a:pt x="481736" y="60705"/>
                </a:lnTo>
                <a:lnTo>
                  <a:pt x="489394" y="60705"/>
                </a:lnTo>
                <a:lnTo>
                  <a:pt x="489394" y="45275"/>
                </a:lnTo>
                <a:close/>
              </a:path>
              <a:path w="720725" h="70484">
                <a:moveTo>
                  <a:pt x="478510" y="19011"/>
                </a:moveTo>
                <a:lnTo>
                  <a:pt x="466242" y="19011"/>
                </a:lnTo>
                <a:lnTo>
                  <a:pt x="458419" y="19735"/>
                </a:lnTo>
                <a:lnTo>
                  <a:pt x="449389" y="21196"/>
                </a:lnTo>
                <a:lnTo>
                  <a:pt x="450189" y="27470"/>
                </a:lnTo>
                <a:lnTo>
                  <a:pt x="459409" y="26606"/>
                </a:lnTo>
                <a:lnTo>
                  <a:pt x="466382" y="26174"/>
                </a:lnTo>
                <a:lnTo>
                  <a:pt x="488479" y="26174"/>
                </a:lnTo>
                <a:lnTo>
                  <a:pt x="488048" y="24891"/>
                </a:lnTo>
                <a:lnTo>
                  <a:pt x="482676" y="20180"/>
                </a:lnTo>
                <a:lnTo>
                  <a:pt x="478510" y="19011"/>
                </a:lnTo>
                <a:close/>
              </a:path>
              <a:path w="720725" h="70484">
                <a:moveTo>
                  <a:pt x="405015" y="20205"/>
                </a:moveTo>
                <a:lnTo>
                  <a:pt x="396557" y="20205"/>
                </a:lnTo>
                <a:lnTo>
                  <a:pt x="396557" y="68656"/>
                </a:lnTo>
                <a:lnTo>
                  <a:pt x="405015" y="68656"/>
                </a:lnTo>
                <a:lnTo>
                  <a:pt x="404890" y="49060"/>
                </a:lnTo>
                <a:lnTo>
                  <a:pt x="404609" y="46774"/>
                </a:lnTo>
                <a:lnTo>
                  <a:pt x="427304" y="46774"/>
                </a:lnTo>
                <a:lnTo>
                  <a:pt x="418744" y="43586"/>
                </a:lnTo>
                <a:lnTo>
                  <a:pt x="418744" y="43281"/>
                </a:lnTo>
                <a:lnTo>
                  <a:pt x="426639" y="40208"/>
                </a:lnTo>
                <a:lnTo>
                  <a:pt x="404520" y="40208"/>
                </a:lnTo>
                <a:lnTo>
                  <a:pt x="404795" y="38544"/>
                </a:lnTo>
                <a:lnTo>
                  <a:pt x="404916" y="37477"/>
                </a:lnTo>
                <a:lnTo>
                  <a:pt x="405015" y="20205"/>
                </a:lnTo>
                <a:close/>
              </a:path>
              <a:path w="720725" h="70484">
                <a:moveTo>
                  <a:pt x="427304" y="46774"/>
                </a:moveTo>
                <a:lnTo>
                  <a:pt x="413169" y="46774"/>
                </a:lnTo>
                <a:lnTo>
                  <a:pt x="414426" y="46951"/>
                </a:lnTo>
                <a:lnTo>
                  <a:pt x="416687" y="47675"/>
                </a:lnTo>
                <a:lnTo>
                  <a:pt x="429793" y="68656"/>
                </a:lnTo>
                <a:lnTo>
                  <a:pt x="438645" y="68656"/>
                </a:lnTo>
                <a:lnTo>
                  <a:pt x="428599" y="47993"/>
                </a:lnTo>
                <a:lnTo>
                  <a:pt x="427304" y="46774"/>
                </a:lnTo>
                <a:close/>
              </a:path>
              <a:path w="720725" h="70484">
                <a:moveTo>
                  <a:pt x="437261" y="20205"/>
                </a:moveTo>
                <a:lnTo>
                  <a:pt x="428498" y="20205"/>
                </a:lnTo>
                <a:lnTo>
                  <a:pt x="427101" y="24053"/>
                </a:lnTo>
                <a:lnTo>
                  <a:pt x="425983" y="26936"/>
                </a:lnTo>
                <a:lnTo>
                  <a:pt x="413600" y="40208"/>
                </a:lnTo>
                <a:lnTo>
                  <a:pt x="426639" y="40208"/>
                </a:lnTo>
                <a:lnTo>
                  <a:pt x="428371" y="38544"/>
                </a:lnTo>
                <a:lnTo>
                  <a:pt x="429425" y="37477"/>
                </a:lnTo>
                <a:lnTo>
                  <a:pt x="430022" y="36588"/>
                </a:lnTo>
                <a:lnTo>
                  <a:pt x="431342" y="34061"/>
                </a:lnTo>
                <a:lnTo>
                  <a:pt x="432676" y="31699"/>
                </a:lnTo>
                <a:lnTo>
                  <a:pt x="433222" y="30479"/>
                </a:lnTo>
                <a:lnTo>
                  <a:pt x="435876" y="23926"/>
                </a:lnTo>
                <a:lnTo>
                  <a:pt x="437261" y="20205"/>
                </a:lnTo>
                <a:close/>
              </a:path>
              <a:path w="720725" h="70484">
                <a:moveTo>
                  <a:pt x="310870" y="20205"/>
                </a:moveTo>
                <a:lnTo>
                  <a:pt x="302615" y="20205"/>
                </a:lnTo>
                <a:lnTo>
                  <a:pt x="302615" y="68656"/>
                </a:lnTo>
                <a:lnTo>
                  <a:pt x="302920" y="68656"/>
                </a:lnTo>
                <a:lnTo>
                  <a:pt x="308025" y="69062"/>
                </a:lnTo>
                <a:lnTo>
                  <a:pt x="314921" y="69265"/>
                </a:lnTo>
                <a:lnTo>
                  <a:pt x="330047" y="69265"/>
                </a:lnTo>
                <a:lnTo>
                  <a:pt x="334594" y="68186"/>
                </a:lnTo>
                <a:lnTo>
                  <a:pt x="339902" y="63868"/>
                </a:lnTo>
                <a:lnTo>
                  <a:pt x="340326" y="62598"/>
                </a:lnTo>
                <a:lnTo>
                  <a:pt x="322326" y="62598"/>
                </a:lnTo>
                <a:lnTo>
                  <a:pt x="310870" y="62496"/>
                </a:lnTo>
                <a:lnTo>
                  <a:pt x="310870" y="45275"/>
                </a:lnTo>
                <a:lnTo>
                  <a:pt x="340136" y="45275"/>
                </a:lnTo>
                <a:lnTo>
                  <a:pt x="339864" y="44488"/>
                </a:lnTo>
                <a:lnTo>
                  <a:pt x="334429" y="40106"/>
                </a:lnTo>
                <a:lnTo>
                  <a:pt x="329476" y="39001"/>
                </a:lnTo>
                <a:lnTo>
                  <a:pt x="310870" y="39001"/>
                </a:lnTo>
                <a:lnTo>
                  <a:pt x="310870" y="20205"/>
                </a:lnTo>
                <a:close/>
              </a:path>
              <a:path w="720725" h="70484">
                <a:moveTo>
                  <a:pt x="340136" y="45275"/>
                </a:moveTo>
                <a:lnTo>
                  <a:pt x="326301" y="45275"/>
                </a:lnTo>
                <a:lnTo>
                  <a:pt x="329018" y="45885"/>
                </a:lnTo>
                <a:lnTo>
                  <a:pt x="331939" y="48348"/>
                </a:lnTo>
                <a:lnTo>
                  <a:pt x="332663" y="50584"/>
                </a:lnTo>
                <a:lnTo>
                  <a:pt x="332663" y="57353"/>
                </a:lnTo>
                <a:lnTo>
                  <a:pt x="331914" y="59689"/>
                </a:lnTo>
                <a:lnTo>
                  <a:pt x="328942" y="62014"/>
                </a:lnTo>
                <a:lnTo>
                  <a:pt x="326237" y="62598"/>
                </a:lnTo>
                <a:lnTo>
                  <a:pt x="340326" y="62598"/>
                </a:lnTo>
                <a:lnTo>
                  <a:pt x="341223" y="59905"/>
                </a:lnTo>
                <a:lnTo>
                  <a:pt x="341197" y="48348"/>
                </a:lnTo>
                <a:lnTo>
                  <a:pt x="340136" y="45275"/>
                </a:lnTo>
                <a:close/>
              </a:path>
              <a:path w="720725" h="70484">
                <a:moveTo>
                  <a:pt x="358635" y="20205"/>
                </a:moveTo>
                <a:lnTo>
                  <a:pt x="350075" y="20205"/>
                </a:lnTo>
                <a:lnTo>
                  <a:pt x="350075" y="68656"/>
                </a:lnTo>
                <a:lnTo>
                  <a:pt x="358635" y="68656"/>
                </a:lnTo>
                <a:lnTo>
                  <a:pt x="358635" y="20205"/>
                </a:lnTo>
                <a:close/>
              </a:path>
              <a:path w="720725" h="70484">
                <a:moveTo>
                  <a:pt x="274650" y="27165"/>
                </a:moveTo>
                <a:lnTo>
                  <a:pt x="266192" y="27165"/>
                </a:lnTo>
                <a:lnTo>
                  <a:pt x="266192" y="68656"/>
                </a:lnTo>
                <a:lnTo>
                  <a:pt x="274650" y="68656"/>
                </a:lnTo>
                <a:lnTo>
                  <a:pt x="274650" y="27165"/>
                </a:lnTo>
                <a:close/>
              </a:path>
              <a:path w="720725" h="70484">
                <a:moveTo>
                  <a:pt x="292163" y="20205"/>
                </a:moveTo>
                <a:lnTo>
                  <a:pt x="248577" y="20205"/>
                </a:lnTo>
                <a:lnTo>
                  <a:pt x="248577" y="27165"/>
                </a:lnTo>
                <a:lnTo>
                  <a:pt x="292163" y="27165"/>
                </a:lnTo>
                <a:lnTo>
                  <a:pt x="292163" y="20205"/>
                </a:lnTo>
                <a:close/>
              </a:path>
              <a:path w="720725" h="70484">
                <a:moveTo>
                  <a:pt x="237718" y="26174"/>
                </a:moveTo>
                <a:lnTo>
                  <a:pt x="224040" y="26174"/>
                </a:lnTo>
                <a:lnTo>
                  <a:pt x="226580" y="26796"/>
                </a:lnTo>
                <a:lnTo>
                  <a:pt x="229374" y="29324"/>
                </a:lnTo>
                <a:lnTo>
                  <a:pt x="230111" y="31483"/>
                </a:lnTo>
                <a:lnTo>
                  <a:pt x="230174" y="38811"/>
                </a:lnTo>
                <a:lnTo>
                  <a:pt x="205727" y="38811"/>
                </a:lnTo>
                <a:lnTo>
                  <a:pt x="202425" y="39852"/>
                </a:lnTo>
                <a:lnTo>
                  <a:pt x="197713" y="44030"/>
                </a:lnTo>
                <a:lnTo>
                  <a:pt x="196532" y="46964"/>
                </a:lnTo>
                <a:lnTo>
                  <a:pt x="196532" y="60337"/>
                </a:lnTo>
                <a:lnTo>
                  <a:pt x="197827" y="63665"/>
                </a:lnTo>
                <a:lnTo>
                  <a:pt x="202996" y="68376"/>
                </a:lnTo>
                <a:lnTo>
                  <a:pt x="206514" y="69557"/>
                </a:lnTo>
                <a:lnTo>
                  <a:pt x="215011" y="69557"/>
                </a:lnTo>
                <a:lnTo>
                  <a:pt x="218782" y="68681"/>
                </a:lnTo>
                <a:lnTo>
                  <a:pt x="225742" y="65163"/>
                </a:lnTo>
                <a:lnTo>
                  <a:pt x="228650" y="63093"/>
                </a:lnTo>
                <a:lnTo>
                  <a:pt x="229367" y="62356"/>
                </a:lnTo>
                <a:lnTo>
                  <a:pt x="215239" y="62356"/>
                </a:lnTo>
                <a:lnTo>
                  <a:pt x="212661" y="62293"/>
                </a:lnTo>
                <a:lnTo>
                  <a:pt x="210070" y="62293"/>
                </a:lnTo>
                <a:lnTo>
                  <a:pt x="208165" y="61709"/>
                </a:lnTo>
                <a:lnTo>
                  <a:pt x="205701" y="59385"/>
                </a:lnTo>
                <a:lnTo>
                  <a:pt x="205105" y="57543"/>
                </a:lnTo>
                <a:lnTo>
                  <a:pt x="205105" y="47701"/>
                </a:lnTo>
                <a:lnTo>
                  <a:pt x="207225" y="45478"/>
                </a:lnTo>
                <a:lnTo>
                  <a:pt x="211467" y="45275"/>
                </a:lnTo>
                <a:lnTo>
                  <a:pt x="238633" y="45275"/>
                </a:lnTo>
                <a:lnTo>
                  <a:pt x="238633" y="28892"/>
                </a:lnTo>
                <a:lnTo>
                  <a:pt x="237718" y="26174"/>
                </a:lnTo>
                <a:close/>
              </a:path>
              <a:path w="720725" h="70484">
                <a:moveTo>
                  <a:pt x="238633" y="60705"/>
                </a:moveTo>
                <a:lnTo>
                  <a:pt x="230974" y="60705"/>
                </a:lnTo>
                <a:lnTo>
                  <a:pt x="231965" y="68656"/>
                </a:lnTo>
                <a:lnTo>
                  <a:pt x="238633" y="68656"/>
                </a:lnTo>
                <a:lnTo>
                  <a:pt x="238633" y="60705"/>
                </a:lnTo>
                <a:close/>
              </a:path>
              <a:path w="720725" h="70484">
                <a:moveTo>
                  <a:pt x="238633" y="45275"/>
                </a:moveTo>
                <a:lnTo>
                  <a:pt x="230174" y="45275"/>
                </a:lnTo>
                <a:lnTo>
                  <a:pt x="230174" y="55029"/>
                </a:lnTo>
                <a:lnTo>
                  <a:pt x="227457" y="57416"/>
                </a:lnTo>
                <a:lnTo>
                  <a:pt x="224497" y="59245"/>
                </a:lnTo>
                <a:lnTo>
                  <a:pt x="218122" y="61760"/>
                </a:lnTo>
                <a:lnTo>
                  <a:pt x="215239" y="62356"/>
                </a:lnTo>
                <a:lnTo>
                  <a:pt x="229367" y="62356"/>
                </a:lnTo>
                <a:lnTo>
                  <a:pt x="230974" y="60705"/>
                </a:lnTo>
                <a:lnTo>
                  <a:pt x="238633" y="60705"/>
                </a:lnTo>
                <a:lnTo>
                  <a:pt x="238633" y="45275"/>
                </a:lnTo>
                <a:close/>
              </a:path>
              <a:path w="720725" h="70484">
                <a:moveTo>
                  <a:pt x="227749" y="19011"/>
                </a:moveTo>
                <a:lnTo>
                  <a:pt x="215480" y="19011"/>
                </a:lnTo>
                <a:lnTo>
                  <a:pt x="207645" y="19735"/>
                </a:lnTo>
                <a:lnTo>
                  <a:pt x="198628" y="21196"/>
                </a:lnTo>
                <a:lnTo>
                  <a:pt x="199428" y="27470"/>
                </a:lnTo>
                <a:lnTo>
                  <a:pt x="208648" y="26606"/>
                </a:lnTo>
                <a:lnTo>
                  <a:pt x="215607" y="26174"/>
                </a:lnTo>
                <a:lnTo>
                  <a:pt x="237718" y="26174"/>
                </a:lnTo>
                <a:lnTo>
                  <a:pt x="237286" y="24891"/>
                </a:lnTo>
                <a:lnTo>
                  <a:pt x="231914" y="20180"/>
                </a:lnTo>
                <a:lnTo>
                  <a:pt x="227749" y="19011"/>
                </a:lnTo>
                <a:close/>
              </a:path>
              <a:path w="720725" h="70484">
                <a:moveTo>
                  <a:pt x="139382" y="20205"/>
                </a:moveTo>
                <a:lnTo>
                  <a:pt x="126784" y="20205"/>
                </a:lnTo>
                <a:lnTo>
                  <a:pt x="125691" y="21259"/>
                </a:lnTo>
                <a:lnTo>
                  <a:pt x="125691" y="23380"/>
                </a:lnTo>
                <a:lnTo>
                  <a:pt x="123698" y="68656"/>
                </a:lnTo>
                <a:lnTo>
                  <a:pt x="131457" y="68656"/>
                </a:lnTo>
                <a:lnTo>
                  <a:pt x="133248" y="26669"/>
                </a:lnTo>
                <a:lnTo>
                  <a:pt x="142336" y="26669"/>
                </a:lnTo>
                <a:lnTo>
                  <a:pt x="141008" y="22986"/>
                </a:lnTo>
                <a:lnTo>
                  <a:pt x="140487" y="21132"/>
                </a:lnTo>
                <a:lnTo>
                  <a:pt x="139382" y="20205"/>
                </a:lnTo>
                <a:close/>
              </a:path>
              <a:path w="720725" h="70484">
                <a:moveTo>
                  <a:pt x="182460" y="26669"/>
                </a:moveTo>
                <a:lnTo>
                  <a:pt x="174650" y="26669"/>
                </a:lnTo>
                <a:lnTo>
                  <a:pt x="176542" y="68656"/>
                </a:lnTo>
                <a:lnTo>
                  <a:pt x="184404" y="68656"/>
                </a:lnTo>
                <a:lnTo>
                  <a:pt x="182460" y="26669"/>
                </a:lnTo>
                <a:close/>
              </a:path>
              <a:path w="720725" h="70484">
                <a:moveTo>
                  <a:pt x="142336" y="26669"/>
                </a:moveTo>
                <a:lnTo>
                  <a:pt x="134937" y="26669"/>
                </a:lnTo>
                <a:lnTo>
                  <a:pt x="147281" y="60604"/>
                </a:lnTo>
                <a:lnTo>
                  <a:pt x="147878" y="62458"/>
                </a:lnTo>
                <a:lnTo>
                  <a:pt x="149009" y="63385"/>
                </a:lnTo>
                <a:lnTo>
                  <a:pt x="158889" y="63385"/>
                </a:lnTo>
                <a:lnTo>
                  <a:pt x="160020" y="62458"/>
                </a:lnTo>
                <a:lnTo>
                  <a:pt x="160616" y="60604"/>
                </a:lnTo>
                <a:lnTo>
                  <a:pt x="161632" y="57810"/>
                </a:lnTo>
                <a:lnTo>
                  <a:pt x="153149" y="57810"/>
                </a:lnTo>
                <a:lnTo>
                  <a:pt x="152425" y="55029"/>
                </a:lnTo>
                <a:lnTo>
                  <a:pt x="151726" y="52704"/>
                </a:lnTo>
                <a:lnTo>
                  <a:pt x="142336" y="26669"/>
                </a:lnTo>
                <a:close/>
              </a:path>
              <a:path w="720725" h="70484">
                <a:moveTo>
                  <a:pt x="181241" y="20205"/>
                </a:moveTo>
                <a:lnTo>
                  <a:pt x="168605" y="20205"/>
                </a:lnTo>
                <a:lnTo>
                  <a:pt x="167487" y="21132"/>
                </a:lnTo>
                <a:lnTo>
                  <a:pt x="166878" y="22986"/>
                </a:lnTo>
                <a:lnTo>
                  <a:pt x="156832" y="50850"/>
                </a:lnTo>
                <a:lnTo>
                  <a:pt x="156375" y="52247"/>
                </a:lnTo>
                <a:lnTo>
                  <a:pt x="155663" y="54559"/>
                </a:lnTo>
                <a:lnTo>
                  <a:pt x="154749" y="57810"/>
                </a:lnTo>
                <a:lnTo>
                  <a:pt x="161632" y="57810"/>
                </a:lnTo>
                <a:lnTo>
                  <a:pt x="172948" y="26669"/>
                </a:lnTo>
                <a:lnTo>
                  <a:pt x="182460" y="26669"/>
                </a:lnTo>
                <a:lnTo>
                  <a:pt x="182308" y="23380"/>
                </a:lnTo>
                <a:lnTo>
                  <a:pt x="182308" y="21259"/>
                </a:lnTo>
                <a:lnTo>
                  <a:pt x="181241" y="20205"/>
                </a:lnTo>
                <a:close/>
              </a:path>
              <a:path w="720725" h="70484">
                <a:moveTo>
                  <a:pt x="108864" y="20205"/>
                </a:moveTo>
                <a:lnTo>
                  <a:pt x="84289" y="20205"/>
                </a:lnTo>
                <a:lnTo>
                  <a:pt x="81305" y="21132"/>
                </a:lnTo>
                <a:lnTo>
                  <a:pt x="77317" y="24841"/>
                </a:lnTo>
                <a:lnTo>
                  <a:pt x="76098" y="27698"/>
                </a:lnTo>
                <a:lnTo>
                  <a:pt x="75628" y="31546"/>
                </a:lnTo>
                <a:lnTo>
                  <a:pt x="74371" y="43751"/>
                </a:lnTo>
                <a:lnTo>
                  <a:pt x="72948" y="51879"/>
                </a:lnTo>
                <a:lnTo>
                  <a:pt x="62788" y="62699"/>
                </a:lnTo>
                <a:lnTo>
                  <a:pt x="63690" y="69164"/>
                </a:lnTo>
                <a:lnTo>
                  <a:pt x="83591" y="32931"/>
                </a:lnTo>
                <a:lnTo>
                  <a:pt x="83921" y="30683"/>
                </a:lnTo>
                <a:lnTo>
                  <a:pt x="84531" y="29108"/>
                </a:lnTo>
                <a:lnTo>
                  <a:pt x="86321" y="27317"/>
                </a:lnTo>
                <a:lnTo>
                  <a:pt x="87807" y="26873"/>
                </a:lnTo>
                <a:lnTo>
                  <a:pt x="108864" y="26873"/>
                </a:lnTo>
                <a:lnTo>
                  <a:pt x="108864" y="20205"/>
                </a:lnTo>
                <a:close/>
              </a:path>
              <a:path w="720725" h="70484">
                <a:moveTo>
                  <a:pt x="108864" y="26873"/>
                </a:moveTo>
                <a:lnTo>
                  <a:pt x="100406" y="26873"/>
                </a:lnTo>
                <a:lnTo>
                  <a:pt x="100406" y="68656"/>
                </a:lnTo>
                <a:lnTo>
                  <a:pt x="108864" y="68656"/>
                </a:lnTo>
                <a:lnTo>
                  <a:pt x="108864" y="26873"/>
                </a:lnTo>
                <a:close/>
              </a:path>
              <a:path w="720725" h="70484">
                <a:moveTo>
                  <a:pt x="36322" y="0"/>
                </a:moveTo>
                <a:lnTo>
                  <a:pt x="23596" y="0"/>
                </a:lnTo>
                <a:lnTo>
                  <a:pt x="22491" y="800"/>
                </a:lnTo>
                <a:lnTo>
                  <a:pt x="22098" y="2387"/>
                </a:lnTo>
                <a:lnTo>
                  <a:pt x="0" y="68656"/>
                </a:lnTo>
                <a:lnTo>
                  <a:pt x="9055" y="68656"/>
                </a:lnTo>
                <a:lnTo>
                  <a:pt x="15824" y="47167"/>
                </a:lnTo>
                <a:lnTo>
                  <a:pt x="52744" y="47167"/>
                </a:lnTo>
                <a:lnTo>
                  <a:pt x="50226" y="39611"/>
                </a:lnTo>
                <a:lnTo>
                  <a:pt x="18211" y="39611"/>
                </a:lnTo>
                <a:lnTo>
                  <a:pt x="26873" y="12344"/>
                </a:lnTo>
                <a:lnTo>
                  <a:pt x="28562" y="6769"/>
                </a:lnTo>
                <a:lnTo>
                  <a:pt x="39280" y="6769"/>
                </a:lnTo>
                <a:lnTo>
                  <a:pt x="37820" y="2387"/>
                </a:lnTo>
                <a:lnTo>
                  <a:pt x="37414" y="800"/>
                </a:lnTo>
                <a:lnTo>
                  <a:pt x="36322" y="0"/>
                </a:lnTo>
                <a:close/>
              </a:path>
              <a:path w="720725" h="70484">
                <a:moveTo>
                  <a:pt x="52744" y="47167"/>
                </a:moveTo>
                <a:lnTo>
                  <a:pt x="44081" y="47167"/>
                </a:lnTo>
                <a:lnTo>
                  <a:pt x="50850" y="68656"/>
                </a:lnTo>
                <a:lnTo>
                  <a:pt x="59905" y="68656"/>
                </a:lnTo>
                <a:lnTo>
                  <a:pt x="52744" y="47167"/>
                </a:lnTo>
                <a:close/>
              </a:path>
              <a:path w="720725" h="70484">
                <a:moveTo>
                  <a:pt x="39280" y="6769"/>
                </a:moveTo>
                <a:lnTo>
                  <a:pt x="31343" y="6769"/>
                </a:lnTo>
                <a:lnTo>
                  <a:pt x="31877" y="8762"/>
                </a:lnTo>
                <a:lnTo>
                  <a:pt x="32448" y="10617"/>
                </a:lnTo>
                <a:lnTo>
                  <a:pt x="33045" y="12344"/>
                </a:lnTo>
                <a:lnTo>
                  <a:pt x="41694" y="39611"/>
                </a:lnTo>
                <a:lnTo>
                  <a:pt x="50226" y="39611"/>
                </a:lnTo>
                <a:lnTo>
                  <a:pt x="39280" y="6769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6" name="object 25">
            <a:extLst>
              <a:ext uri="{FF2B5EF4-FFF2-40B4-BE49-F238E27FC236}">
                <a16:creationId xmlns:a16="http://schemas.microsoft.com/office/drawing/2014/main" id="{67DB7B04-F8E1-4392-847B-9DFCF859224C}"/>
              </a:ext>
            </a:extLst>
          </p:cNvPr>
          <p:cNvSpPr/>
          <p:nvPr/>
        </p:nvSpPr>
        <p:spPr>
          <a:xfrm>
            <a:off x="775530" y="590683"/>
            <a:ext cx="563880" cy="89535"/>
          </a:xfrm>
          <a:custGeom>
            <a:avLst/>
            <a:gdLst/>
            <a:ahLst/>
            <a:cxnLst/>
            <a:rect l="l" t="t" r="r" b="b"/>
            <a:pathLst>
              <a:path w="563880" h="89534">
                <a:moveTo>
                  <a:pt x="515556" y="20802"/>
                </a:moveTo>
                <a:lnTo>
                  <a:pt x="507301" y="20802"/>
                </a:lnTo>
                <a:lnTo>
                  <a:pt x="507301" y="69265"/>
                </a:lnTo>
                <a:lnTo>
                  <a:pt x="507606" y="69265"/>
                </a:lnTo>
                <a:lnTo>
                  <a:pt x="512698" y="69659"/>
                </a:lnTo>
                <a:lnTo>
                  <a:pt x="519607" y="69862"/>
                </a:lnTo>
                <a:lnTo>
                  <a:pt x="534733" y="69862"/>
                </a:lnTo>
                <a:lnTo>
                  <a:pt x="539280" y="68783"/>
                </a:lnTo>
                <a:lnTo>
                  <a:pt x="544588" y="64465"/>
                </a:lnTo>
                <a:lnTo>
                  <a:pt x="545012" y="63195"/>
                </a:lnTo>
                <a:lnTo>
                  <a:pt x="526999" y="63195"/>
                </a:lnTo>
                <a:lnTo>
                  <a:pt x="515556" y="63093"/>
                </a:lnTo>
                <a:lnTo>
                  <a:pt x="515556" y="45885"/>
                </a:lnTo>
                <a:lnTo>
                  <a:pt x="544825" y="45885"/>
                </a:lnTo>
                <a:lnTo>
                  <a:pt x="544550" y="45085"/>
                </a:lnTo>
                <a:lnTo>
                  <a:pt x="539102" y="40703"/>
                </a:lnTo>
                <a:lnTo>
                  <a:pt x="534162" y="39611"/>
                </a:lnTo>
                <a:lnTo>
                  <a:pt x="515556" y="39611"/>
                </a:lnTo>
                <a:lnTo>
                  <a:pt x="515556" y="20802"/>
                </a:lnTo>
                <a:close/>
              </a:path>
              <a:path w="563880" h="89534">
                <a:moveTo>
                  <a:pt x="544825" y="45885"/>
                </a:moveTo>
                <a:lnTo>
                  <a:pt x="530987" y="45885"/>
                </a:lnTo>
                <a:lnTo>
                  <a:pt x="533704" y="46494"/>
                </a:lnTo>
                <a:lnTo>
                  <a:pt x="536625" y="48945"/>
                </a:lnTo>
                <a:lnTo>
                  <a:pt x="537349" y="51193"/>
                </a:lnTo>
                <a:lnTo>
                  <a:pt x="537349" y="57950"/>
                </a:lnTo>
                <a:lnTo>
                  <a:pt x="536600" y="60286"/>
                </a:lnTo>
                <a:lnTo>
                  <a:pt x="533615" y="62611"/>
                </a:lnTo>
                <a:lnTo>
                  <a:pt x="530910" y="63195"/>
                </a:lnTo>
                <a:lnTo>
                  <a:pt x="545012" y="63195"/>
                </a:lnTo>
                <a:lnTo>
                  <a:pt x="545909" y="60502"/>
                </a:lnTo>
                <a:lnTo>
                  <a:pt x="545878" y="48945"/>
                </a:lnTo>
                <a:lnTo>
                  <a:pt x="544825" y="45885"/>
                </a:lnTo>
                <a:close/>
              </a:path>
              <a:path w="563880" h="89534">
                <a:moveTo>
                  <a:pt x="563321" y="20802"/>
                </a:moveTo>
                <a:lnTo>
                  <a:pt x="554761" y="20802"/>
                </a:lnTo>
                <a:lnTo>
                  <a:pt x="554761" y="69265"/>
                </a:lnTo>
                <a:lnTo>
                  <a:pt x="563321" y="69265"/>
                </a:lnTo>
                <a:lnTo>
                  <a:pt x="563321" y="20802"/>
                </a:lnTo>
                <a:close/>
              </a:path>
              <a:path w="563880" h="89534">
                <a:moveTo>
                  <a:pt x="485406" y="19608"/>
                </a:moveTo>
                <a:lnTo>
                  <a:pt x="470674" y="19608"/>
                </a:lnTo>
                <a:lnTo>
                  <a:pt x="464756" y="21513"/>
                </a:lnTo>
                <a:lnTo>
                  <a:pt x="457796" y="29146"/>
                </a:lnTo>
                <a:lnTo>
                  <a:pt x="456044" y="35699"/>
                </a:lnTo>
                <a:lnTo>
                  <a:pt x="456044" y="54343"/>
                </a:lnTo>
                <a:lnTo>
                  <a:pt x="457771" y="60921"/>
                </a:lnTo>
                <a:lnTo>
                  <a:pt x="464680" y="68554"/>
                </a:lnTo>
                <a:lnTo>
                  <a:pt x="470611" y="70459"/>
                </a:lnTo>
                <a:lnTo>
                  <a:pt x="485343" y="70459"/>
                </a:lnTo>
                <a:lnTo>
                  <a:pt x="490842" y="69634"/>
                </a:lnTo>
                <a:lnTo>
                  <a:pt x="495553" y="67970"/>
                </a:lnTo>
                <a:lnTo>
                  <a:pt x="494904" y="63296"/>
                </a:lnTo>
                <a:lnTo>
                  <a:pt x="474586" y="63296"/>
                </a:lnTo>
                <a:lnTo>
                  <a:pt x="470547" y="62001"/>
                </a:lnTo>
                <a:lnTo>
                  <a:pt x="466039" y="56819"/>
                </a:lnTo>
                <a:lnTo>
                  <a:pt x="464908" y="52006"/>
                </a:lnTo>
                <a:lnTo>
                  <a:pt x="464908" y="38011"/>
                </a:lnTo>
                <a:lnTo>
                  <a:pt x="466051" y="33235"/>
                </a:lnTo>
                <a:lnTo>
                  <a:pt x="470623" y="28067"/>
                </a:lnTo>
                <a:lnTo>
                  <a:pt x="474662" y="26771"/>
                </a:lnTo>
                <a:lnTo>
                  <a:pt x="493690" y="26771"/>
                </a:lnTo>
                <a:lnTo>
                  <a:pt x="494652" y="21894"/>
                </a:lnTo>
                <a:lnTo>
                  <a:pt x="490613" y="20370"/>
                </a:lnTo>
                <a:lnTo>
                  <a:pt x="485406" y="19608"/>
                </a:lnTo>
                <a:close/>
              </a:path>
              <a:path w="563880" h="89534">
                <a:moveTo>
                  <a:pt x="494766" y="62306"/>
                </a:moveTo>
                <a:lnTo>
                  <a:pt x="490575" y="62953"/>
                </a:lnTo>
                <a:lnTo>
                  <a:pt x="485800" y="63296"/>
                </a:lnTo>
                <a:lnTo>
                  <a:pt x="494904" y="63296"/>
                </a:lnTo>
                <a:lnTo>
                  <a:pt x="494766" y="62306"/>
                </a:lnTo>
                <a:close/>
              </a:path>
              <a:path w="563880" h="89534">
                <a:moveTo>
                  <a:pt x="493690" y="26771"/>
                </a:moveTo>
                <a:lnTo>
                  <a:pt x="484809" y="26771"/>
                </a:lnTo>
                <a:lnTo>
                  <a:pt x="489191" y="26974"/>
                </a:lnTo>
                <a:lnTo>
                  <a:pt x="493572" y="27368"/>
                </a:lnTo>
                <a:lnTo>
                  <a:pt x="493690" y="26771"/>
                </a:lnTo>
                <a:close/>
              </a:path>
              <a:path w="563880" h="89534">
                <a:moveTo>
                  <a:pt x="441995" y="26771"/>
                </a:moveTo>
                <a:lnTo>
                  <a:pt x="428320" y="26771"/>
                </a:lnTo>
                <a:lnTo>
                  <a:pt x="430872" y="27393"/>
                </a:lnTo>
                <a:lnTo>
                  <a:pt x="433666" y="29921"/>
                </a:lnTo>
                <a:lnTo>
                  <a:pt x="434390" y="32080"/>
                </a:lnTo>
                <a:lnTo>
                  <a:pt x="434454" y="39408"/>
                </a:lnTo>
                <a:lnTo>
                  <a:pt x="410006" y="39408"/>
                </a:lnTo>
                <a:lnTo>
                  <a:pt x="406717" y="40449"/>
                </a:lnTo>
                <a:lnTo>
                  <a:pt x="402005" y="44627"/>
                </a:lnTo>
                <a:lnTo>
                  <a:pt x="400824" y="47574"/>
                </a:lnTo>
                <a:lnTo>
                  <a:pt x="400824" y="60934"/>
                </a:lnTo>
                <a:lnTo>
                  <a:pt x="402120" y="64274"/>
                </a:lnTo>
                <a:lnTo>
                  <a:pt x="407289" y="68973"/>
                </a:lnTo>
                <a:lnTo>
                  <a:pt x="410806" y="70154"/>
                </a:lnTo>
                <a:lnTo>
                  <a:pt x="419290" y="70154"/>
                </a:lnTo>
                <a:lnTo>
                  <a:pt x="423087" y="69265"/>
                </a:lnTo>
                <a:lnTo>
                  <a:pt x="430034" y="65760"/>
                </a:lnTo>
                <a:lnTo>
                  <a:pt x="432930" y="63690"/>
                </a:lnTo>
                <a:lnTo>
                  <a:pt x="433647" y="62953"/>
                </a:lnTo>
                <a:lnTo>
                  <a:pt x="419531" y="62953"/>
                </a:lnTo>
                <a:lnTo>
                  <a:pt x="416941" y="62890"/>
                </a:lnTo>
                <a:lnTo>
                  <a:pt x="414362" y="62890"/>
                </a:lnTo>
                <a:lnTo>
                  <a:pt x="412445" y="62306"/>
                </a:lnTo>
                <a:lnTo>
                  <a:pt x="409994" y="59994"/>
                </a:lnTo>
                <a:lnTo>
                  <a:pt x="409384" y="58153"/>
                </a:lnTo>
                <a:lnTo>
                  <a:pt x="409384" y="48298"/>
                </a:lnTo>
                <a:lnTo>
                  <a:pt x="411505" y="46075"/>
                </a:lnTo>
                <a:lnTo>
                  <a:pt x="415747" y="45885"/>
                </a:lnTo>
                <a:lnTo>
                  <a:pt x="442912" y="45885"/>
                </a:lnTo>
                <a:lnTo>
                  <a:pt x="442912" y="29489"/>
                </a:lnTo>
                <a:lnTo>
                  <a:pt x="441995" y="26771"/>
                </a:lnTo>
                <a:close/>
              </a:path>
              <a:path w="563880" h="89534">
                <a:moveTo>
                  <a:pt x="442912" y="61302"/>
                </a:moveTo>
                <a:lnTo>
                  <a:pt x="435254" y="61302"/>
                </a:lnTo>
                <a:lnTo>
                  <a:pt x="436245" y="69265"/>
                </a:lnTo>
                <a:lnTo>
                  <a:pt x="442912" y="69265"/>
                </a:lnTo>
                <a:lnTo>
                  <a:pt x="442912" y="61302"/>
                </a:lnTo>
                <a:close/>
              </a:path>
              <a:path w="563880" h="89534">
                <a:moveTo>
                  <a:pt x="442912" y="45885"/>
                </a:moveTo>
                <a:lnTo>
                  <a:pt x="434454" y="45885"/>
                </a:lnTo>
                <a:lnTo>
                  <a:pt x="434454" y="55638"/>
                </a:lnTo>
                <a:lnTo>
                  <a:pt x="431736" y="58026"/>
                </a:lnTo>
                <a:lnTo>
                  <a:pt x="428777" y="59842"/>
                </a:lnTo>
                <a:lnTo>
                  <a:pt x="422414" y="62357"/>
                </a:lnTo>
                <a:lnTo>
                  <a:pt x="419531" y="62953"/>
                </a:lnTo>
                <a:lnTo>
                  <a:pt x="433647" y="62953"/>
                </a:lnTo>
                <a:lnTo>
                  <a:pt x="435254" y="61302"/>
                </a:lnTo>
                <a:lnTo>
                  <a:pt x="442912" y="61302"/>
                </a:lnTo>
                <a:lnTo>
                  <a:pt x="442912" y="45885"/>
                </a:lnTo>
                <a:close/>
              </a:path>
              <a:path w="563880" h="89534">
                <a:moveTo>
                  <a:pt x="432028" y="19608"/>
                </a:moveTo>
                <a:lnTo>
                  <a:pt x="419760" y="19608"/>
                </a:lnTo>
                <a:lnTo>
                  <a:pt x="411937" y="20332"/>
                </a:lnTo>
                <a:lnTo>
                  <a:pt x="402907" y="21793"/>
                </a:lnTo>
                <a:lnTo>
                  <a:pt x="403707" y="28067"/>
                </a:lnTo>
                <a:lnTo>
                  <a:pt x="412927" y="27203"/>
                </a:lnTo>
                <a:lnTo>
                  <a:pt x="419900" y="26771"/>
                </a:lnTo>
                <a:lnTo>
                  <a:pt x="441995" y="26771"/>
                </a:lnTo>
                <a:lnTo>
                  <a:pt x="441566" y="25501"/>
                </a:lnTo>
                <a:lnTo>
                  <a:pt x="436194" y="20777"/>
                </a:lnTo>
                <a:lnTo>
                  <a:pt x="432028" y="19608"/>
                </a:lnTo>
                <a:close/>
              </a:path>
              <a:path w="563880" h="89534">
                <a:moveTo>
                  <a:pt x="343674" y="20802"/>
                </a:moveTo>
                <a:lnTo>
                  <a:pt x="331063" y="20802"/>
                </a:lnTo>
                <a:lnTo>
                  <a:pt x="329971" y="21856"/>
                </a:lnTo>
                <a:lnTo>
                  <a:pt x="329971" y="23977"/>
                </a:lnTo>
                <a:lnTo>
                  <a:pt x="327977" y="69265"/>
                </a:lnTo>
                <a:lnTo>
                  <a:pt x="335737" y="69265"/>
                </a:lnTo>
                <a:lnTo>
                  <a:pt x="337527" y="27266"/>
                </a:lnTo>
                <a:lnTo>
                  <a:pt x="346627" y="27266"/>
                </a:lnTo>
                <a:lnTo>
                  <a:pt x="345300" y="23583"/>
                </a:lnTo>
                <a:lnTo>
                  <a:pt x="344766" y="21729"/>
                </a:lnTo>
                <a:lnTo>
                  <a:pt x="343674" y="20802"/>
                </a:lnTo>
                <a:close/>
              </a:path>
              <a:path w="563880" h="89534">
                <a:moveTo>
                  <a:pt x="386740" y="27266"/>
                </a:moveTo>
                <a:lnTo>
                  <a:pt x="378929" y="27266"/>
                </a:lnTo>
                <a:lnTo>
                  <a:pt x="380822" y="69265"/>
                </a:lnTo>
                <a:lnTo>
                  <a:pt x="388683" y="69265"/>
                </a:lnTo>
                <a:lnTo>
                  <a:pt x="386740" y="27266"/>
                </a:lnTo>
                <a:close/>
              </a:path>
              <a:path w="563880" h="89534">
                <a:moveTo>
                  <a:pt x="346627" y="27266"/>
                </a:moveTo>
                <a:lnTo>
                  <a:pt x="339229" y="27266"/>
                </a:lnTo>
                <a:lnTo>
                  <a:pt x="351561" y="61201"/>
                </a:lnTo>
                <a:lnTo>
                  <a:pt x="352158" y="63068"/>
                </a:lnTo>
                <a:lnTo>
                  <a:pt x="353288" y="63982"/>
                </a:lnTo>
                <a:lnTo>
                  <a:pt x="363169" y="63982"/>
                </a:lnTo>
                <a:lnTo>
                  <a:pt x="364299" y="63068"/>
                </a:lnTo>
                <a:lnTo>
                  <a:pt x="364896" y="61201"/>
                </a:lnTo>
                <a:lnTo>
                  <a:pt x="365908" y="58420"/>
                </a:lnTo>
                <a:lnTo>
                  <a:pt x="357441" y="58420"/>
                </a:lnTo>
                <a:lnTo>
                  <a:pt x="356704" y="55638"/>
                </a:lnTo>
                <a:lnTo>
                  <a:pt x="356006" y="53301"/>
                </a:lnTo>
                <a:lnTo>
                  <a:pt x="346627" y="27266"/>
                </a:lnTo>
                <a:close/>
              </a:path>
              <a:path w="563880" h="89534">
                <a:moveTo>
                  <a:pt x="385533" y="20802"/>
                </a:moveTo>
                <a:lnTo>
                  <a:pt x="372897" y="20802"/>
                </a:lnTo>
                <a:lnTo>
                  <a:pt x="371767" y="21729"/>
                </a:lnTo>
                <a:lnTo>
                  <a:pt x="371170" y="23583"/>
                </a:lnTo>
                <a:lnTo>
                  <a:pt x="361111" y="51447"/>
                </a:lnTo>
                <a:lnTo>
                  <a:pt x="360654" y="52844"/>
                </a:lnTo>
                <a:lnTo>
                  <a:pt x="359956" y="55168"/>
                </a:lnTo>
                <a:lnTo>
                  <a:pt x="359029" y="58420"/>
                </a:lnTo>
                <a:lnTo>
                  <a:pt x="365908" y="58420"/>
                </a:lnTo>
                <a:lnTo>
                  <a:pt x="377240" y="27266"/>
                </a:lnTo>
                <a:lnTo>
                  <a:pt x="386740" y="27266"/>
                </a:lnTo>
                <a:lnTo>
                  <a:pt x="386588" y="23977"/>
                </a:lnTo>
                <a:lnTo>
                  <a:pt x="386461" y="21729"/>
                </a:lnTo>
                <a:lnTo>
                  <a:pt x="385533" y="20802"/>
                </a:lnTo>
                <a:close/>
              </a:path>
              <a:path w="563880" h="89534">
                <a:moveTo>
                  <a:pt x="277926" y="20802"/>
                </a:moveTo>
                <a:lnTo>
                  <a:pt x="271068" y="20802"/>
                </a:lnTo>
                <a:lnTo>
                  <a:pt x="271068" y="89268"/>
                </a:lnTo>
                <a:lnTo>
                  <a:pt x="279425" y="89268"/>
                </a:lnTo>
                <a:lnTo>
                  <a:pt x="279425" y="75234"/>
                </a:lnTo>
                <a:lnTo>
                  <a:pt x="279488" y="68262"/>
                </a:lnTo>
                <a:lnTo>
                  <a:pt x="279222" y="65481"/>
                </a:lnTo>
                <a:lnTo>
                  <a:pt x="310492" y="65481"/>
                </a:lnTo>
                <a:lnTo>
                  <a:pt x="312319" y="63093"/>
                </a:lnTo>
                <a:lnTo>
                  <a:pt x="291363" y="63093"/>
                </a:lnTo>
                <a:lnTo>
                  <a:pt x="286181" y="62090"/>
                </a:lnTo>
                <a:lnTo>
                  <a:pt x="279425" y="60109"/>
                </a:lnTo>
                <a:lnTo>
                  <a:pt x="279425" y="34429"/>
                </a:lnTo>
                <a:lnTo>
                  <a:pt x="286054" y="29464"/>
                </a:lnTo>
                <a:lnTo>
                  <a:pt x="288060" y="28562"/>
                </a:lnTo>
                <a:lnTo>
                  <a:pt x="278625" y="28562"/>
                </a:lnTo>
                <a:lnTo>
                  <a:pt x="277926" y="20802"/>
                </a:lnTo>
                <a:close/>
              </a:path>
              <a:path w="563880" h="89534">
                <a:moveTo>
                  <a:pt x="310492" y="65481"/>
                </a:moveTo>
                <a:lnTo>
                  <a:pt x="279222" y="65481"/>
                </a:lnTo>
                <a:lnTo>
                  <a:pt x="284657" y="68795"/>
                </a:lnTo>
                <a:lnTo>
                  <a:pt x="290639" y="70459"/>
                </a:lnTo>
                <a:lnTo>
                  <a:pt x="303504" y="70459"/>
                </a:lnTo>
                <a:lnTo>
                  <a:pt x="308140" y="68554"/>
                </a:lnTo>
                <a:lnTo>
                  <a:pt x="310492" y="65481"/>
                </a:lnTo>
                <a:close/>
              </a:path>
              <a:path w="563880" h="89534">
                <a:moveTo>
                  <a:pt x="312090" y="26974"/>
                </a:moveTo>
                <a:lnTo>
                  <a:pt x="299885" y="26974"/>
                </a:lnTo>
                <a:lnTo>
                  <a:pt x="302615" y="28333"/>
                </a:lnTo>
                <a:lnTo>
                  <a:pt x="305879" y="33769"/>
                </a:lnTo>
                <a:lnTo>
                  <a:pt x="306692" y="38506"/>
                </a:lnTo>
                <a:lnTo>
                  <a:pt x="306692" y="52247"/>
                </a:lnTo>
                <a:lnTo>
                  <a:pt x="305828" y="56959"/>
                </a:lnTo>
                <a:lnTo>
                  <a:pt x="302374" y="61861"/>
                </a:lnTo>
                <a:lnTo>
                  <a:pt x="299326" y="63093"/>
                </a:lnTo>
                <a:lnTo>
                  <a:pt x="312319" y="63093"/>
                </a:lnTo>
                <a:lnTo>
                  <a:pt x="313982" y="60921"/>
                </a:lnTo>
                <a:lnTo>
                  <a:pt x="315442" y="54432"/>
                </a:lnTo>
                <a:lnTo>
                  <a:pt x="315442" y="36652"/>
                </a:lnTo>
                <a:lnTo>
                  <a:pt x="314121" y="30226"/>
                </a:lnTo>
                <a:lnTo>
                  <a:pt x="312090" y="26974"/>
                </a:lnTo>
                <a:close/>
              </a:path>
              <a:path w="563880" h="89534">
                <a:moveTo>
                  <a:pt x="304558" y="19608"/>
                </a:moveTo>
                <a:lnTo>
                  <a:pt x="295211" y="19608"/>
                </a:lnTo>
                <a:lnTo>
                  <a:pt x="291642" y="20408"/>
                </a:lnTo>
                <a:lnTo>
                  <a:pt x="284416" y="23583"/>
                </a:lnTo>
                <a:lnTo>
                  <a:pt x="281279" y="25781"/>
                </a:lnTo>
                <a:lnTo>
                  <a:pt x="278625" y="28562"/>
                </a:lnTo>
                <a:lnTo>
                  <a:pt x="288060" y="28562"/>
                </a:lnTo>
                <a:lnTo>
                  <a:pt x="291591" y="26974"/>
                </a:lnTo>
                <a:lnTo>
                  <a:pt x="312090" y="26974"/>
                </a:lnTo>
                <a:lnTo>
                  <a:pt x="308813" y="21729"/>
                </a:lnTo>
                <a:lnTo>
                  <a:pt x="304558" y="19608"/>
                </a:lnTo>
                <a:close/>
              </a:path>
              <a:path w="563880" h="89534">
                <a:moveTo>
                  <a:pt x="254619" y="26771"/>
                </a:moveTo>
                <a:lnTo>
                  <a:pt x="240944" y="26771"/>
                </a:lnTo>
                <a:lnTo>
                  <a:pt x="243497" y="27393"/>
                </a:lnTo>
                <a:lnTo>
                  <a:pt x="246278" y="29921"/>
                </a:lnTo>
                <a:lnTo>
                  <a:pt x="247015" y="32080"/>
                </a:lnTo>
                <a:lnTo>
                  <a:pt x="247078" y="39408"/>
                </a:lnTo>
                <a:lnTo>
                  <a:pt x="222630" y="39408"/>
                </a:lnTo>
                <a:lnTo>
                  <a:pt x="219329" y="40449"/>
                </a:lnTo>
                <a:lnTo>
                  <a:pt x="214617" y="44627"/>
                </a:lnTo>
                <a:lnTo>
                  <a:pt x="213436" y="47574"/>
                </a:lnTo>
                <a:lnTo>
                  <a:pt x="213436" y="60934"/>
                </a:lnTo>
                <a:lnTo>
                  <a:pt x="214731" y="64274"/>
                </a:lnTo>
                <a:lnTo>
                  <a:pt x="219913" y="68973"/>
                </a:lnTo>
                <a:lnTo>
                  <a:pt x="223431" y="70154"/>
                </a:lnTo>
                <a:lnTo>
                  <a:pt x="231927" y="70154"/>
                </a:lnTo>
                <a:lnTo>
                  <a:pt x="235711" y="69265"/>
                </a:lnTo>
                <a:lnTo>
                  <a:pt x="242646" y="65760"/>
                </a:lnTo>
                <a:lnTo>
                  <a:pt x="245554" y="63690"/>
                </a:lnTo>
                <a:lnTo>
                  <a:pt x="246271" y="62953"/>
                </a:lnTo>
                <a:lnTo>
                  <a:pt x="232155" y="62953"/>
                </a:lnTo>
                <a:lnTo>
                  <a:pt x="229565" y="62890"/>
                </a:lnTo>
                <a:lnTo>
                  <a:pt x="226974" y="62890"/>
                </a:lnTo>
                <a:lnTo>
                  <a:pt x="225069" y="62306"/>
                </a:lnTo>
                <a:lnTo>
                  <a:pt x="222618" y="59994"/>
                </a:lnTo>
                <a:lnTo>
                  <a:pt x="222008" y="58153"/>
                </a:lnTo>
                <a:lnTo>
                  <a:pt x="222008" y="48298"/>
                </a:lnTo>
                <a:lnTo>
                  <a:pt x="224129" y="46075"/>
                </a:lnTo>
                <a:lnTo>
                  <a:pt x="228371" y="45885"/>
                </a:lnTo>
                <a:lnTo>
                  <a:pt x="255536" y="45885"/>
                </a:lnTo>
                <a:lnTo>
                  <a:pt x="255536" y="29489"/>
                </a:lnTo>
                <a:lnTo>
                  <a:pt x="254619" y="26771"/>
                </a:lnTo>
                <a:close/>
              </a:path>
              <a:path w="563880" h="89534">
                <a:moveTo>
                  <a:pt x="255536" y="61302"/>
                </a:moveTo>
                <a:lnTo>
                  <a:pt x="247878" y="61302"/>
                </a:lnTo>
                <a:lnTo>
                  <a:pt x="248869" y="69265"/>
                </a:lnTo>
                <a:lnTo>
                  <a:pt x="255536" y="69265"/>
                </a:lnTo>
                <a:lnTo>
                  <a:pt x="255536" y="61302"/>
                </a:lnTo>
                <a:close/>
              </a:path>
              <a:path w="563880" h="89534">
                <a:moveTo>
                  <a:pt x="255536" y="45885"/>
                </a:moveTo>
                <a:lnTo>
                  <a:pt x="247078" y="45885"/>
                </a:lnTo>
                <a:lnTo>
                  <a:pt x="247078" y="55638"/>
                </a:lnTo>
                <a:lnTo>
                  <a:pt x="244360" y="58026"/>
                </a:lnTo>
                <a:lnTo>
                  <a:pt x="241414" y="59842"/>
                </a:lnTo>
                <a:lnTo>
                  <a:pt x="235038" y="62357"/>
                </a:lnTo>
                <a:lnTo>
                  <a:pt x="232155" y="62953"/>
                </a:lnTo>
                <a:lnTo>
                  <a:pt x="246271" y="62953"/>
                </a:lnTo>
                <a:lnTo>
                  <a:pt x="247878" y="61302"/>
                </a:lnTo>
                <a:lnTo>
                  <a:pt x="255536" y="61302"/>
                </a:lnTo>
                <a:lnTo>
                  <a:pt x="255536" y="45885"/>
                </a:lnTo>
                <a:close/>
              </a:path>
              <a:path w="563880" h="89534">
                <a:moveTo>
                  <a:pt x="244652" y="19608"/>
                </a:moveTo>
                <a:lnTo>
                  <a:pt x="232384" y="19608"/>
                </a:lnTo>
                <a:lnTo>
                  <a:pt x="224561" y="20332"/>
                </a:lnTo>
                <a:lnTo>
                  <a:pt x="215531" y="21793"/>
                </a:lnTo>
                <a:lnTo>
                  <a:pt x="216331" y="28067"/>
                </a:lnTo>
                <a:lnTo>
                  <a:pt x="225551" y="27203"/>
                </a:lnTo>
                <a:lnTo>
                  <a:pt x="232511" y="26771"/>
                </a:lnTo>
                <a:lnTo>
                  <a:pt x="254619" y="26771"/>
                </a:lnTo>
                <a:lnTo>
                  <a:pt x="254190" y="25501"/>
                </a:lnTo>
                <a:lnTo>
                  <a:pt x="248818" y="20777"/>
                </a:lnTo>
                <a:lnTo>
                  <a:pt x="244652" y="19608"/>
                </a:lnTo>
                <a:close/>
              </a:path>
              <a:path w="563880" h="89534">
                <a:moveTo>
                  <a:pt x="171157" y="20802"/>
                </a:moveTo>
                <a:lnTo>
                  <a:pt x="162699" y="20802"/>
                </a:lnTo>
                <a:lnTo>
                  <a:pt x="162699" y="69265"/>
                </a:lnTo>
                <a:lnTo>
                  <a:pt x="171157" y="69265"/>
                </a:lnTo>
                <a:lnTo>
                  <a:pt x="171032" y="49657"/>
                </a:lnTo>
                <a:lnTo>
                  <a:pt x="170751" y="47371"/>
                </a:lnTo>
                <a:lnTo>
                  <a:pt x="193446" y="47371"/>
                </a:lnTo>
                <a:lnTo>
                  <a:pt x="184886" y="44183"/>
                </a:lnTo>
                <a:lnTo>
                  <a:pt x="184886" y="43891"/>
                </a:lnTo>
                <a:lnTo>
                  <a:pt x="192781" y="40805"/>
                </a:lnTo>
                <a:lnTo>
                  <a:pt x="170649" y="40805"/>
                </a:lnTo>
                <a:lnTo>
                  <a:pt x="170992" y="38811"/>
                </a:lnTo>
                <a:lnTo>
                  <a:pt x="171118" y="37401"/>
                </a:lnTo>
                <a:lnTo>
                  <a:pt x="171157" y="20802"/>
                </a:lnTo>
                <a:close/>
              </a:path>
              <a:path w="563880" h="89534">
                <a:moveTo>
                  <a:pt x="193446" y="47371"/>
                </a:moveTo>
                <a:lnTo>
                  <a:pt x="179311" y="47371"/>
                </a:lnTo>
                <a:lnTo>
                  <a:pt x="180581" y="47548"/>
                </a:lnTo>
                <a:lnTo>
                  <a:pt x="182829" y="48285"/>
                </a:lnTo>
                <a:lnTo>
                  <a:pt x="195935" y="69265"/>
                </a:lnTo>
                <a:lnTo>
                  <a:pt x="204787" y="69265"/>
                </a:lnTo>
                <a:lnTo>
                  <a:pt x="194741" y="48590"/>
                </a:lnTo>
                <a:lnTo>
                  <a:pt x="193446" y="47371"/>
                </a:lnTo>
                <a:close/>
              </a:path>
              <a:path w="563880" h="89534">
                <a:moveTo>
                  <a:pt x="203390" y="20802"/>
                </a:moveTo>
                <a:lnTo>
                  <a:pt x="194640" y="20802"/>
                </a:lnTo>
                <a:lnTo>
                  <a:pt x="193243" y="24650"/>
                </a:lnTo>
                <a:lnTo>
                  <a:pt x="192112" y="27533"/>
                </a:lnTo>
                <a:lnTo>
                  <a:pt x="179743" y="40805"/>
                </a:lnTo>
                <a:lnTo>
                  <a:pt x="192781" y="40805"/>
                </a:lnTo>
                <a:lnTo>
                  <a:pt x="195567" y="38087"/>
                </a:lnTo>
                <a:lnTo>
                  <a:pt x="196164" y="37185"/>
                </a:lnTo>
                <a:lnTo>
                  <a:pt x="198018" y="33693"/>
                </a:lnTo>
                <a:lnTo>
                  <a:pt x="198818" y="32296"/>
                </a:lnTo>
                <a:lnTo>
                  <a:pt x="199364" y="31076"/>
                </a:lnTo>
                <a:lnTo>
                  <a:pt x="202018" y="24536"/>
                </a:lnTo>
                <a:lnTo>
                  <a:pt x="202603" y="22987"/>
                </a:lnTo>
                <a:lnTo>
                  <a:pt x="203390" y="20802"/>
                </a:lnTo>
                <a:close/>
              </a:path>
              <a:path w="563880" h="89534">
                <a:moveTo>
                  <a:pt x="140804" y="19608"/>
                </a:moveTo>
                <a:lnTo>
                  <a:pt x="126072" y="19608"/>
                </a:lnTo>
                <a:lnTo>
                  <a:pt x="120154" y="21513"/>
                </a:lnTo>
                <a:lnTo>
                  <a:pt x="113182" y="29146"/>
                </a:lnTo>
                <a:lnTo>
                  <a:pt x="111455" y="35699"/>
                </a:lnTo>
                <a:lnTo>
                  <a:pt x="111455" y="54343"/>
                </a:lnTo>
                <a:lnTo>
                  <a:pt x="113169" y="60921"/>
                </a:lnTo>
                <a:lnTo>
                  <a:pt x="120065" y="68554"/>
                </a:lnTo>
                <a:lnTo>
                  <a:pt x="126009" y="70459"/>
                </a:lnTo>
                <a:lnTo>
                  <a:pt x="140741" y="70459"/>
                </a:lnTo>
                <a:lnTo>
                  <a:pt x="146240" y="69634"/>
                </a:lnTo>
                <a:lnTo>
                  <a:pt x="150952" y="67970"/>
                </a:lnTo>
                <a:lnTo>
                  <a:pt x="150302" y="63296"/>
                </a:lnTo>
                <a:lnTo>
                  <a:pt x="129997" y="63296"/>
                </a:lnTo>
                <a:lnTo>
                  <a:pt x="125945" y="62001"/>
                </a:lnTo>
                <a:lnTo>
                  <a:pt x="121437" y="56819"/>
                </a:lnTo>
                <a:lnTo>
                  <a:pt x="120307" y="52006"/>
                </a:lnTo>
                <a:lnTo>
                  <a:pt x="120307" y="38011"/>
                </a:lnTo>
                <a:lnTo>
                  <a:pt x="121450" y="33235"/>
                </a:lnTo>
                <a:lnTo>
                  <a:pt x="126022" y="28067"/>
                </a:lnTo>
                <a:lnTo>
                  <a:pt x="130060" y="26771"/>
                </a:lnTo>
                <a:lnTo>
                  <a:pt x="149078" y="26771"/>
                </a:lnTo>
                <a:lnTo>
                  <a:pt x="150063" y="21894"/>
                </a:lnTo>
                <a:lnTo>
                  <a:pt x="146011" y="20370"/>
                </a:lnTo>
                <a:lnTo>
                  <a:pt x="140804" y="19608"/>
                </a:lnTo>
                <a:close/>
              </a:path>
              <a:path w="563880" h="89534">
                <a:moveTo>
                  <a:pt x="150164" y="62306"/>
                </a:moveTo>
                <a:lnTo>
                  <a:pt x="145973" y="62953"/>
                </a:lnTo>
                <a:lnTo>
                  <a:pt x="141198" y="63296"/>
                </a:lnTo>
                <a:lnTo>
                  <a:pt x="150302" y="63296"/>
                </a:lnTo>
                <a:lnTo>
                  <a:pt x="150164" y="62306"/>
                </a:lnTo>
                <a:close/>
              </a:path>
              <a:path w="563880" h="89534">
                <a:moveTo>
                  <a:pt x="149078" y="26771"/>
                </a:moveTo>
                <a:lnTo>
                  <a:pt x="140208" y="26771"/>
                </a:lnTo>
                <a:lnTo>
                  <a:pt x="144589" y="26974"/>
                </a:lnTo>
                <a:lnTo>
                  <a:pt x="148958" y="27368"/>
                </a:lnTo>
                <a:lnTo>
                  <a:pt x="149078" y="26771"/>
                </a:lnTo>
                <a:close/>
              </a:path>
              <a:path w="563880" h="89534">
                <a:moveTo>
                  <a:pt x="97401" y="26771"/>
                </a:moveTo>
                <a:lnTo>
                  <a:pt x="83718" y="26771"/>
                </a:lnTo>
                <a:lnTo>
                  <a:pt x="86271" y="27393"/>
                </a:lnTo>
                <a:lnTo>
                  <a:pt x="89052" y="29921"/>
                </a:lnTo>
                <a:lnTo>
                  <a:pt x="89789" y="32080"/>
                </a:lnTo>
                <a:lnTo>
                  <a:pt x="89852" y="39408"/>
                </a:lnTo>
                <a:lnTo>
                  <a:pt x="65404" y="39408"/>
                </a:lnTo>
                <a:lnTo>
                  <a:pt x="62103" y="40449"/>
                </a:lnTo>
                <a:lnTo>
                  <a:pt x="57391" y="44627"/>
                </a:lnTo>
                <a:lnTo>
                  <a:pt x="56222" y="47574"/>
                </a:lnTo>
                <a:lnTo>
                  <a:pt x="56222" y="60934"/>
                </a:lnTo>
                <a:lnTo>
                  <a:pt x="57518" y="64274"/>
                </a:lnTo>
                <a:lnTo>
                  <a:pt x="62687" y="68973"/>
                </a:lnTo>
                <a:lnTo>
                  <a:pt x="66205" y="70154"/>
                </a:lnTo>
                <a:lnTo>
                  <a:pt x="74701" y="70154"/>
                </a:lnTo>
                <a:lnTo>
                  <a:pt x="78485" y="69265"/>
                </a:lnTo>
                <a:lnTo>
                  <a:pt x="85420" y="65760"/>
                </a:lnTo>
                <a:lnTo>
                  <a:pt x="88328" y="63690"/>
                </a:lnTo>
                <a:lnTo>
                  <a:pt x="89045" y="62953"/>
                </a:lnTo>
                <a:lnTo>
                  <a:pt x="74929" y="62953"/>
                </a:lnTo>
                <a:lnTo>
                  <a:pt x="72339" y="62890"/>
                </a:lnTo>
                <a:lnTo>
                  <a:pt x="69748" y="62890"/>
                </a:lnTo>
                <a:lnTo>
                  <a:pt x="67843" y="62306"/>
                </a:lnTo>
                <a:lnTo>
                  <a:pt x="65392" y="59994"/>
                </a:lnTo>
                <a:lnTo>
                  <a:pt x="64782" y="58153"/>
                </a:lnTo>
                <a:lnTo>
                  <a:pt x="64782" y="48298"/>
                </a:lnTo>
                <a:lnTo>
                  <a:pt x="66903" y="46075"/>
                </a:lnTo>
                <a:lnTo>
                  <a:pt x="71145" y="45885"/>
                </a:lnTo>
                <a:lnTo>
                  <a:pt x="98310" y="45885"/>
                </a:lnTo>
                <a:lnTo>
                  <a:pt x="98310" y="29489"/>
                </a:lnTo>
                <a:lnTo>
                  <a:pt x="97401" y="26771"/>
                </a:lnTo>
                <a:close/>
              </a:path>
              <a:path w="563880" h="89534">
                <a:moveTo>
                  <a:pt x="98310" y="61302"/>
                </a:moveTo>
                <a:lnTo>
                  <a:pt x="90652" y="61302"/>
                </a:lnTo>
                <a:lnTo>
                  <a:pt x="91643" y="69265"/>
                </a:lnTo>
                <a:lnTo>
                  <a:pt x="98310" y="69265"/>
                </a:lnTo>
                <a:lnTo>
                  <a:pt x="98310" y="61302"/>
                </a:lnTo>
                <a:close/>
              </a:path>
              <a:path w="563880" h="89534">
                <a:moveTo>
                  <a:pt x="98310" y="45885"/>
                </a:moveTo>
                <a:lnTo>
                  <a:pt x="89852" y="45885"/>
                </a:lnTo>
                <a:lnTo>
                  <a:pt x="89852" y="55638"/>
                </a:lnTo>
                <a:lnTo>
                  <a:pt x="87134" y="58026"/>
                </a:lnTo>
                <a:lnTo>
                  <a:pt x="84188" y="59842"/>
                </a:lnTo>
                <a:lnTo>
                  <a:pt x="77812" y="62357"/>
                </a:lnTo>
                <a:lnTo>
                  <a:pt x="74929" y="62953"/>
                </a:lnTo>
                <a:lnTo>
                  <a:pt x="89045" y="62953"/>
                </a:lnTo>
                <a:lnTo>
                  <a:pt x="90652" y="61302"/>
                </a:lnTo>
                <a:lnTo>
                  <a:pt x="98310" y="61302"/>
                </a:lnTo>
                <a:lnTo>
                  <a:pt x="98310" y="45885"/>
                </a:lnTo>
                <a:close/>
              </a:path>
              <a:path w="563880" h="89534">
                <a:moveTo>
                  <a:pt x="87439" y="19608"/>
                </a:moveTo>
                <a:lnTo>
                  <a:pt x="75158" y="19608"/>
                </a:lnTo>
                <a:lnTo>
                  <a:pt x="67335" y="20332"/>
                </a:lnTo>
                <a:lnTo>
                  <a:pt x="58305" y="21793"/>
                </a:lnTo>
                <a:lnTo>
                  <a:pt x="59105" y="28067"/>
                </a:lnTo>
                <a:lnTo>
                  <a:pt x="68325" y="27203"/>
                </a:lnTo>
                <a:lnTo>
                  <a:pt x="75285" y="26771"/>
                </a:lnTo>
                <a:lnTo>
                  <a:pt x="97401" y="26771"/>
                </a:lnTo>
                <a:lnTo>
                  <a:pt x="96977" y="25501"/>
                </a:lnTo>
                <a:lnTo>
                  <a:pt x="91592" y="20777"/>
                </a:lnTo>
                <a:lnTo>
                  <a:pt x="87439" y="19608"/>
                </a:lnTo>
                <a:close/>
              </a:path>
              <a:path w="563880" h="89534">
                <a:moveTo>
                  <a:pt x="28257" y="0"/>
                </a:moveTo>
                <a:lnTo>
                  <a:pt x="14262" y="0"/>
                </a:lnTo>
                <a:lnTo>
                  <a:pt x="7162" y="203"/>
                </a:lnTo>
                <a:lnTo>
                  <a:pt x="0" y="596"/>
                </a:lnTo>
                <a:lnTo>
                  <a:pt x="0" y="69265"/>
                </a:lnTo>
                <a:lnTo>
                  <a:pt x="190" y="69265"/>
                </a:lnTo>
                <a:lnTo>
                  <a:pt x="6756" y="69862"/>
                </a:lnTo>
                <a:lnTo>
                  <a:pt x="13957" y="70154"/>
                </a:lnTo>
                <a:lnTo>
                  <a:pt x="26301" y="70154"/>
                </a:lnTo>
                <a:lnTo>
                  <a:pt x="43885" y="62598"/>
                </a:lnTo>
                <a:lnTo>
                  <a:pt x="16116" y="62598"/>
                </a:lnTo>
                <a:lnTo>
                  <a:pt x="11264" y="62560"/>
                </a:lnTo>
                <a:lnTo>
                  <a:pt x="8750" y="62496"/>
                </a:lnTo>
                <a:lnTo>
                  <a:pt x="8750" y="37020"/>
                </a:lnTo>
                <a:lnTo>
                  <a:pt x="43656" y="37020"/>
                </a:lnTo>
                <a:lnTo>
                  <a:pt x="37668" y="31623"/>
                </a:lnTo>
                <a:lnTo>
                  <a:pt x="31775" y="30149"/>
                </a:lnTo>
                <a:lnTo>
                  <a:pt x="8750" y="30149"/>
                </a:lnTo>
                <a:lnTo>
                  <a:pt x="8750" y="7861"/>
                </a:lnTo>
                <a:lnTo>
                  <a:pt x="41389" y="7861"/>
                </a:lnTo>
                <a:lnTo>
                  <a:pt x="42189" y="596"/>
                </a:lnTo>
                <a:lnTo>
                  <a:pt x="35217" y="203"/>
                </a:lnTo>
                <a:lnTo>
                  <a:pt x="28257" y="0"/>
                </a:lnTo>
                <a:close/>
              </a:path>
              <a:path w="563880" h="89534">
                <a:moveTo>
                  <a:pt x="43656" y="37020"/>
                </a:moveTo>
                <a:lnTo>
                  <a:pt x="28790" y="37020"/>
                </a:lnTo>
                <a:lnTo>
                  <a:pt x="32448" y="37934"/>
                </a:lnTo>
                <a:lnTo>
                  <a:pt x="36106" y="41579"/>
                </a:lnTo>
                <a:lnTo>
                  <a:pt x="37007" y="44983"/>
                </a:lnTo>
                <a:lnTo>
                  <a:pt x="37007" y="55067"/>
                </a:lnTo>
                <a:lnTo>
                  <a:pt x="36106" y="58445"/>
                </a:lnTo>
                <a:lnTo>
                  <a:pt x="32448" y="61772"/>
                </a:lnTo>
                <a:lnTo>
                  <a:pt x="28790" y="62598"/>
                </a:lnTo>
                <a:lnTo>
                  <a:pt x="43885" y="62598"/>
                </a:lnTo>
                <a:lnTo>
                  <a:pt x="45402" y="58254"/>
                </a:lnTo>
                <a:lnTo>
                  <a:pt x="45828" y="55067"/>
                </a:lnTo>
                <a:lnTo>
                  <a:pt x="45872" y="42786"/>
                </a:lnTo>
                <a:lnTo>
                  <a:pt x="44234" y="37541"/>
                </a:lnTo>
                <a:lnTo>
                  <a:pt x="43656" y="3702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7" name="object 26">
            <a:extLst>
              <a:ext uri="{FF2B5EF4-FFF2-40B4-BE49-F238E27FC236}">
                <a16:creationId xmlns:a16="http://schemas.microsoft.com/office/drawing/2014/main" id="{35714506-99F4-4652-93D0-81AF9F1F484B}"/>
              </a:ext>
            </a:extLst>
          </p:cNvPr>
          <p:cNvSpPr/>
          <p:nvPr/>
        </p:nvSpPr>
        <p:spPr>
          <a:xfrm>
            <a:off x="774201" y="425570"/>
            <a:ext cx="1039494" cy="136525"/>
          </a:xfrm>
          <a:custGeom>
            <a:avLst/>
            <a:gdLst/>
            <a:ahLst/>
            <a:cxnLst/>
            <a:rect l="l" t="t" r="r" b="b"/>
            <a:pathLst>
              <a:path w="1039494" h="136525">
                <a:moveTo>
                  <a:pt x="980490" y="31102"/>
                </a:moveTo>
                <a:lnTo>
                  <a:pt x="956906" y="31102"/>
                </a:lnTo>
                <a:lnTo>
                  <a:pt x="980947" y="99771"/>
                </a:lnTo>
                <a:lnTo>
                  <a:pt x="982040" y="103365"/>
                </a:lnTo>
                <a:lnTo>
                  <a:pt x="984491" y="105181"/>
                </a:lnTo>
                <a:lnTo>
                  <a:pt x="992504" y="105181"/>
                </a:lnTo>
                <a:lnTo>
                  <a:pt x="990206" y="110883"/>
                </a:lnTo>
                <a:lnTo>
                  <a:pt x="987094" y="114896"/>
                </a:lnTo>
                <a:lnTo>
                  <a:pt x="983195" y="117195"/>
                </a:lnTo>
                <a:lnTo>
                  <a:pt x="979385" y="119494"/>
                </a:lnTo>
                <a:lnTo>
                  <a:pt x="972921" y="120497"/>
                </a:lnTo>
                <a:lnTo>
                  <a:pt x="963779" y="120497"/>
                </a:lnTo>
                <a:lnTo>
                  <a:pt x="962012" y="134924"/>
                </a:lnTo>
                <a:lnTo>
                  <a:pt x="971118" y="135974"/>
                </a:lnTo>
                <a:lnTo>
                  <a:pt x="979212" y="135824"/>
                </a:lnTo>
                <a:lnTo>
                  <a:pt x="986295" y="134472"/>
                </a:lnTo>
                <a:lnTo>
                  <a:pt x="992365" y="131914"/>
                </a:lnTo>
                <a:lnTo>
                  <a:pt x="999034" y="127550"/>
                </a:lnTo>
                <a:lnTo>
                  <a:pt x="1004639" y="121813"/>
                </a:lnTo>
                <a:lnTo>
                  <a:pt x="1005480" y="120497"/>
                </a:lnTo>
                <a:lnTo>
                  <a:pt x="972921" y="120497"/>
                </a:lnTo>
                <a:lnTo>
                  <a:pt x="963815" y="120205"/>
                </a:lnTo>
                <a:lnTo>
                  <a:pt x="1005666" y="120205"/>
                </a:lnTo>
                <a:lnTo>
                  <a:pt x="1009178" y="114707"/>
                </a:lnTo>
                <a:lnTo>
                  <a:pt x="1012647" y="106235"/>
                </a:lnTo>
                <a:lnTo>
                  <a:pt x="1018277" y="90144"/>
                </a:lnTo>
                <a:lnTo>
                  <a:pt x="996708" y="90144"/>
                </a:lnTo>
                <a:lnTo>
                  <a:pt x="996315" y="87350"/>
                </a:lnTo>
                <a:lnTo>
                  <a:pt x="995514" y="83642"/>
                </a:lnTo>
                <a:lnTo>
                  <a:pt x="994308" y="79032"/>
                </a:lnTo>
                <a:lnTo>
                  <a:pt x="980490" y="31102"/>
                </a:lnTo>
                <a:close/>
              </a:path>
              <a:path w="1039494" h="136525">
                <a:moveTo>
                  <a:pt x="1038936" y="31102"/>
                </a:moveTo>
                <a:lnTo>
                  <a:pt x="1015199" y="31102"/>
                </a:lnTo>
                <a:lnTo>
                  <a:pt x="1001522" y="79032"/>
                </a:lnTo>
                <a:lnTo>
                  <a:pt x="1001115" y="80733"/>
                </a:lnTo>
                <a:lnTo>
                  <a:pt x="1000125" y="84442"/>
                </a:lnTo>
                <a:lnTo>
                  <a:pt x="998512" y="90144"/>
                </a:lnTo>
                <a:lnTo>
                  <a:pt x="1018277" y="90144"/>
                </a:lnTo>
                <a:lnTo>
                  <a:pt x="1038936" y="31102"/>
                </a:lnTo>
                <a:close/>
              </a:path>
              <a:path w="1039494" h="136525">
                <a:moveTo>
                  <a:pt x="893648" y="31102"/>
                </a:moveTo>
                <a:lnTo>
                  <a:pt x="875626" y="31102"/>
                </a:lnTo>
                <a:lnTo>
                  <a:pt x="875626" y="133718"/>
                </a:lnTo>
                <a:lnTo>
                  <a:pt x="897699" y="133718"/>
                </a:lnTo>
                <a:lnTo>
                  <a:pt x="897680" y="104305"/>
                </a:lnTo>
                <a:lnTo>
                  <a:pt x="897254" y="99910"/>
                </a:lnTo>
                <a:lnTo>
                  <a:pt x="942500" y="99910"/>
                </a:lnTo>
                <a:lnTo>
                  <a:pt x="943533" y="98640"/>
                </a:lnTo>
                <a:lnTo>
                  <a:pt x="946558" y="93590"/>
                </a:lnTo>
                <a:lnTo>
                  <a:pt x="947527" y="90601"/>
                </a:lnTo>
                <a:lnTo>
                  <a:pt x="911136" y="90601"/>
                </a:lnTo>
                <a:lnTo>
                  <a:pt x="905522" y="89598"/>
                </a:lnTo>
                <a:lnTo>
                  <a:pt x="897699" y="87591"/>
                </a:lnTo>
                <a:lnTo>
                  <a:pt x="897699" y="53644"/>
                </a:lnTo>
                <a:lnTo>
                  <a:pt x="904913" y="48933"/>
                </a:lnTo>
                <a:lnTo>
                  <a:pt x="911021" y="46583"/>
                </a:lnTo>
                <a:lnTo>
                  <a:pt x="946936" y="46583"/>
                </a:lnTo>
                <a:lnTo>
                  <a:pt x="945123" y="41922"/>
                </a:lnTo>
                <a:lnTo>
                  <a:pt x="895299" y="41922"/>
                </a:lnTo>
                <a:lnTo>
                  <a:pt x="893648" y="31102"/>
                </a:lnTo>
                <a:close/>
              </a:path>
              <a:path w="1039494" h="136525">
                <a:moveTo>
                  <a:pt x="942500" y="99910"/>
                </a:moveTo>
                <a:lnTo>
                  <a:pt x="897254" y="99910"/>
                </a:lnTo>
                <a:lnTo>
                  <a:pt x="902462" y="103068"/>
                </a:lnTo>
                <a:lnTo>
                  <a:pt x="908330" y="105322"/>
                </a:lnTo>
                <a:lnTo>
                  <a:pt x="914858" y="106674"/>
                </a:lnTo>
                <a:lnTo>
                  <a:pt x="922045" y="107124"/>
                </a:lnTo>
                <a:lnTo>
                  <a:pt x="931760" y="107124"/>
                </a:lnTo>
                <a:lnTo>
                  <a:pt x="938923" y="104305"/>
                </a:lnTo>
                <a:lnTo>
                  <a:pt x="942500" y="99910"/>
                </a:lnTo>
                <a:close/>
              </a:path>
              <a:path w="1039494" h="136525">
                <a:moveTo>
                  <a:pt x="946936" y="46583"/>
                </a:moveTo>
                <a:lnTo>
                  <a:pt x="920343" y="46583"/>
                </a:lnTo>
                <a:lnTo>
                  <a:pt x="923340" y="48107"/>
                </a:lnTo>
                <a:lnTo>
                  <a:pt x="926757" y="54216"/>
                </a:lnTo>
                <a:lnTo>
                  <a:pt x="927595" y="60096"/>
                </a:lnTo>
                <a:lnTo>
                  <a:pt x="927595" y="77724"/>
                </a:lnTo>
                <a:lnTo>
                  <a:pt x="926680" y="83591"/>
                </a:lnTo>
                <a:lnTo>
                  <a:pt x="922972" y="89204"/>
                </a:lnTo>
                <a:lnTo>
                  <a:pt x="919543" y="90601"/>
                </a:lnTo>
                <a:lnTo>
                  <a:pt x="947527" y="90601"/>
                </a:lnTo>
                <a:lnTo>
                  <a:pt x="948716" y="86936"/>
                </a:lnTo>
                <a:lnTo>
                  <a:pt x="950011" y="78679"/>
                </a:lnTo>
                <a:lnTo>
                  <a:pt x="950442" y="68821"/>
                </a:lnTo>
                <a:lnTo>
                  <a:pt x="948835" y="51469"/>
                </a:lnTo>
                <a:lnTo>
                  <a:pt x="946936" y="46583"/>
                </a:lnTo>
                <a:close/>
              </a:path>
              <a:path w="1039494" h="136525">
                <a:moveTo>
                  <a:pt x="924750" y="29159"/>
                </a:moveTo>
                <a:lnTo>
                  <a:pt x="919137" y="29159"/>
                </a:lnTo>
                <a:lnTo>
                  <a:pt x="913599" y="30353"/>
                </a:lnTo>
                <a:lnTo>
                  <a:pt x="902690" y="35166"/>
                </a:lnTo>
                <a:lnTo>
                  <a:pt x="898410" y="38214"/>
                </a:lnTo>
                <a:lnTo>
                  <a:pt x="895299" y="41922"/>
                </a:lnTo>
                <a:lnTo>
                  <a:pt x="945123" y="41922"/>
                </a:lnTo>
                <a:lnTo>
                  <a:pt x="944016" y="39074"/>
                </a:lnTo>
                <a:lnTo>
                  <a:pt x="935987" y="31638"/>
                </a:lnTo>
                <a:lnTo>
                  <a:pt x="924750" y="29159"/>
                </a:lnTo>
                <a:close/>
              </a:path>
              <a:path w="1039494" h="136525">
                <a:moveTo>
                  <a:pt x="779907" y="31102"/>
                </a:moveTo>
                <a:lnTo>
                  <a:pt x="758583" y="31102"/>
                </a:lnTo>
                <a:lnTo>
                  <a:pt x="758583" y="105181"/>
                </a:lnTo>
                <a:lnTo>
                  <a:pt x="759180" y="105181"/>
                </a:lnTo>
                <a:lnTo>
                  <a:pt x="766208" y="105572"/>
                </a:lnTo>
                <a:lnTo>
                  <a:pt x="774509" y="105849"/>
                </a:lnTo>
                <a:lnTo>
                  <a:pt x="784087" y="106015"/>
                </a:lnTo>
                <a:lnTo>
                  <a:pt x="794943" y="106070"/>
                </a:lnTo>
                <a:lnTo>
                  <a:pt x="805751" y="106070"/>
                </a:lnTo>
                <a:lnTo>
                  <a:pt x="813473" y="104305"/>
                </a:lnTo>
                <a:lnTo>
                  <a:pt x="822680" y="97193"/>
                </a:lnTo>
                <a:lnTo>
                  <a:pt x="824991" y="90754"/>
                </a:lnTo>
                <a:lnTo>
                  <a:pt x="824991" y="90449"/>
                </a:lnTo>
                <a:lnTo>
                  <a:pt x="779907" y="90449"/>
                </a:lnTo>
                <a:lnTo>
                  <a:pt x="779907" y="70777"/>
                </a:lnTo>
                <a:lnTo>
                  <a:pt x="824566" y="70777"/>
                </a:lnTo>
                <a:lnTo>
                  <a:pt x="822579" y="65443"/>
                </a:lnTo>
                <a:lnTo>
                  <a:pt x="791032" y="56794"/>
                </a:lnTo>
                <a:lnTo>
                  <a:pt x="779907" y="56794"/>
                </a:lnTo>
                <a:lnTo>
                  <a:pt x="779907" y="31102"/>
                </a:lnTo>
                <a:close/>
              </a:path>
              <a:path w="1039494" h="136525">
                <a:moveTo>
                  <a:pt x="824566" y="70777"/>
                </a:moveTo>
                <a:lnTo>
                  <a:pt x="795642" y="70777"/>
                </a:lnTo>
                <a:lnTo>
                  <a:pt x="798715" y="71424"/>
                </a:lnTo>
                <a:lnTo>
                  <a:pt x="801827" y="74028"/>
                </a:lnTo>
                <a:lnTo>
                  <a:pt x="802601" y="76631"/>
                </a:lnTo>
                <a:lnTo>
                  <a:pt x="802601" y="84645"/>
                </a:lnTo>
                <a:lnTo>
                  <a:pt x="801827" y="87325"/>
                </a:lnTo>
                <a:lnTo>
                  <a:pt x="798715" y="89827"/>
                </a:lnTo>
                <a:lnTo>
                  <a:pt x="795642" y="90449"/>
                </a:lnTo>
                <a:lnTo>
                  <a:pt x="824991" y="90449"/>
                </a:lnTo>
                <a:lnTo>
                  <a:pt x="824991" y="71920"/>
                </a:lnTo>
                <a:lnTo>
                  <a:pt x="824566" y="70777"/>
                </a:lnTo>
                <a:close/>
              </a:path>
              <a:path w="1039494" h="136525">
                <a:moveTo>
                  <a:pt x="856691" y="31102"/>
                </a:moveTo>
                <a:lnTo>
                  <a:pt x="834453" y="31102"/>
                </a:lnTo>
                <a:lnTo>
                  <a:pt x="834453" y="105181"/>
                </a:lnTo>
                <a:lnTo>
                  <a:pt x="856691" y="105181"/>
                </a:lnTo>
                <a:lnTo>
                  <a:pt x="856691" y="31102"/>
                </a:lnTo>
                <a:close/>
              </a:path>
              <a:path w="1039494" h="136525">
                <a:moveTo>
                  <a:pt x="745515" y="89255"/>
                </a:moveTo>
                <a:lnTo>
                  <a:pt x="657771" y="89255"/>
                </a:lnTo>
                <a:lnTo>
                  <a:pt x="657771" y="126352"/>
                </a:lnTo>
                <a:lnTo>
                  <a:pt x="672338" y="126352"/>
                </a:lnTo>
                <a:lnTo>
                  <a:pt x="673836" y="105181"/>
                </a:lnTo>
                <a:lnTo>
                  <a:pt x="745515" y="105181"/>
                </a:lnTo>
                <a:lnTo>
                  <a:pt x="745515" y="89255"/>
                </a:lnTo>
                <a:close/>
              </a:path>
              <a:path w="1039494" h="136525">
                <a:moveTo>
                  <a:pt x="745515" y="105181"/>
                </a:moveTo>
                <a:lnTo>
                  <a:pt x="729284" y="105181"/>
                </a:lnTo>
                <a:lnTo>
                  <a:pt x="730935" y="126352"/>
                </a:lnTo>
                <a:lnTo>
                  <a:pt x="745515" y="126352"/>
                </a:lnTo>
                <a:lnTo>
                  <a:pt x="745515" y="105181"/>
                </a:lnTo>
                <a:close/>
              </a:path>
              <a:path w="1039494" h="136525">
                <a:moveTo>
                  <a:pt x="733793" y="31102"/>
                </a:moveTo>
                <a:lnTo>
                  <a:pt x="697433" y="31102"/>
                </a:lnTo>
                <a:lnTo>
                  <a:pt x="688844" y="32230"/>
                </a:lnTo>
                <a:lnTo>
                  <a:pt x="682450" y="35613"/>
                </a:lnTo>
                <a:lnTo>
                  <a:pt x="678252" y="41249"/>
                </a:lnTo>
                <a:lnTo>
                  <a:pt x="676249" y="49136"/>
                </a:lnTo>
                <a:lnTo>
                  <a:pt x="674718" y="60318"/>
                </a:lnTo>
                <a:lnTo>
                  <a:pt x="672679" y="70734"/>
                </a:lnTo>
                <a:lnTo>
                  <a:pt x="670132" y="80381"/>
                </a:lnTo>
                <a:lnTo>
                  <a:pt x="667080" y="89255"/>
                </a:lnTo>
                <a:lnTo>
                  <a:pt x="686612" y="89255"/>
                </a:lnTo>
                <a:lnTo>
                  <a:pt x="696277" y="48488"/>
                </a:lnTo>
                <a:lnTo>
                  <a:pt x="698779" y="46126"/>
                </a:lnTo>
                <a:lnTo>
                  <a:pt x="733793" y="46126"/>
                </a:lnTo>
                <a:lnTo>
                  <a:pt x="733793" y="31102"/>
                </a:lnTo>
                <a:close/>
              </a:path>
              <a:path w="1039494" h="136525">
                <a:moveTo>
                  <a:pt x="733793" y="46126"/>
                </a:moveTo>
                <a:lnTo>
                  <a:pt x="712914" y="46126"/>
                </a:lnTo>
                <a:lnTo>
                  <a:pt x="712914" y="89255"/>
                </a:lnTo>
                <a:lnTo>
                  <a:pt x="733793" y="89255"/>
                </a:lnTo>
                <a:lnTo>
                  <a:pt x="733793" y="46126"/>
                </a:lnTo>
                <a:close/>
              </a:path>
              <a:path w="1039494" h="136525">
                <a:moveTo>
                  <a:pt x="595261" y="31102"/>
                </a:moveTo>
                <a:lnTo>
                  <a:pt x="573328" y="31102"/>
                </a:lnTo>
                <a:lnTo>
                  <a:pt x="573328" y="105181"/>
                </a:lnTo>
                <a:lnTo>
                  <a:pt x="595261" y="105181"/>
                </a:lnTo>
                <a:lnTo>
                  <a:pt x="595261" y="73774"/>
                </a:lnTo>
                <a:lnTo>
                  <a:pt x="645147" y="73774"/>
                </a:lnTo>
                <a:lnTo>
                  <a:pt x="645147" y="58305"/>
                </a:lnTo>
                <a:lnTo>
                  <a:pt x="595261" y="58305"/>
                </a:lnTo>
                <a:lnTo>
                  <a:pt x="595261" y="31102"/>
                </a:lnTo>
                <a:close/>
              </a:path>
              <a:path w="1039494" h="136525">
                <a:moveTo>
                  <a:pt x="645147" y="73774"/>
                </a:moveTo>
                <a:lnTo>
                  <a:pt x="623354" y="73774"/>
                </a:lnTo>
                <a:lnTo>
                  <a:pt x="623354" y="105181"/>
                </a:lnTo>
                <a:lnTo>
                  <a:pt x="645147" y="105181"/>
                </a:lnTo>
                <a:lnTo>
                  <a:pt x="645147" y="73774"/>
                </a:lnTo>
                <a:close/>
              </a:path>
              <a:path w="1039494" h="136525">
                <a:moveTo>
                  <a:pt x="645147" y="31102"/>
                </a:moveTo>
                <a:lnTo>
                  <a:pt x="623354" y="31102"/>
                </a:lnTo>
                <a:lnTo>
                  <a:pt x="623354" y="58305"/>
                </a:lnTo>
                <a:lnTo>
                  <a:pt x="645147" y="58305"/>
                </a:lnTo>
                <a:lnTo>
                  <a:pt x="645147" y="31102"/>
                </a:lnTo>
                <a:close/>
              </a:path>
              <a:path w="1039494" h="136525">
                <a:moveTo>
                  <a:pt x="555155" y="46431"/>
                </a:moveTo>
                <a:lnTo>
                  <a:pt x="525449" y="46431"/>
                </a:lnTo>
                <a:lnTo>
                  <a:pt x="528639" y="47106"/>
                </a:lnTo>
                <a:lnTo>
                  <a:pt x="531939" y="49809"/>
                </a:lnTo>
                <a:lnTo>
                  <a:pt x="532815" y="52336"/>
                </a:lnTo>
                <a:lnTo>
                  <a:pt x="532917" y="59347"/>
                </a:lnTo>
                <a:lnTo>
                  <a:pt x="499364" y="59347"/>
                </a:lnTo>
                <a:lnTo>
                  <a:pt x="493801" y="60998"/>
                </a:lnTo>
                <a:lnTo>
                  <a:pt x="485787" y="67614"/>
                </a:lnTo>
                <a:lnTo>
                  <a:pt x="483793" y="72224"/>
                </a:lnTo>
                <a:lnTo>
                  <a:pt x="483793" y="92354"/>
                </a:lnTo>
                <a:lnTo>
                  <a:pt x="486016" y="97586"/>
                </a:lnTo>
                <a:lnTo>
                  <a:pt x="494931" y="105105"/>
                </a:lnTo>
                <a:lnTo>
                  <a:pt x="500710" y="106984"/>
                </a:lnTo>
                <a:lnTo>
                  <a:pt x="507822" y="106984"/>
                </a:lnTo>
                <a:lnTo>
                  <a:pt x="515684" y="106166"/>
                </a:lnTo>
                <a:lnTo>
                  <a:pt x="522889" y="103711"/>
                </a:lnTo>
                <a:lnTo>
                  <a:pt x="529433" y="99623"/>
                </a:lnTo>
                <a:lnTo>
                  <a:pt x="535317" y="93903"/>
                </a:lnTo>
                <a:lnTo>
                  <a:pt x="555155" y="93903"/>
                </a:lnTo>
                <a:lnTo>
                  <a:pt x="555155" y="90297"/>
                </a:lnTo>
                <a:lnTo>
                  <a:pt x="508571" y="90297"/>
                </a:lnTo>
                <a:lnTo>
                  <a:pt x="505726" y="87744"/>
                </a:lnTo>
                <a:lnTo>
                  <a:pt x="505726" y="75171"/>
                </a:lnTo>
                <a:lnTo>
                  <a:pt x="508127" y="72821"/>
                </a:lnTo>
                <a:lnTo>
                  <a:pt x="512940" y="72720"/>
                </a:lnTo>
                <a:lnTo>
                  <a:pt x="555155" y="72720"/>
                </a:lnTo>
                <a:lnTo>
                  <a:pt x="555155" y="46431"/>
                </a:lnTo>
                <a:close/>
              </a:path>
              <a:path w="1039494" h="136525">
                <a:moveTo>
                  <a:pt x="555155" y="93903"/>
                </a:moveTo>
                <a:lnTo>
                  <a:pt x="535317" y="93903"/>
                </a:lnTo>
                <a:lnTo>
                  <a:pt x="537565" y="105181"/>
                </a:lnTo>
                <a:lnTo>
                  <a:pt x="555155" y="105181"/>
                </a:lnTo>
                <a:lnTo>
                  <a:pt x="555155" y="93903"/>
                </a:lnTo>
                <a:close/>
              </a:path>
              <a:path w="1039494" h="136525">
                <a:moveTo>
                  <a:pt x="555155" y="72720"/>
                </a:moveTo>
                <a:lnTo>
                  <a:pt x="532917" y="72720"/>
                </a:lnTo>
                <a:lnTo>
                  <a:pt x="532917" y="83083"/>
                </a:lnTo>
                <a:lnTo>
                  <a:pt x="526402" y="87896"/>
                </a:lnTo>
                <a:lnTo>
                  <a:pt x="520192" y="90297"/>
                </a:lnTo>
                <a:lnTo>
                  <a:pt x="555155" y="90297"/>
                </a:lnTo>
                <a:lnTo>
                  <a:pt x="555155" y="72720"/>
                </a:lnTo>
                <a:close/>
              </a:path>
              <a:path w="1039494" h="136525">
                <a:moveTo>
                  <a:pt x="535876" y="28994"/>
                </a:moveTo>
                <a:lnTo>
                  <a:pt x="525856" y="28994"/>
                </a:lnTo>
                <a:lnTo>
                  <a:pt x="516521" y="29220"/>
                </a:lnTo>
                <a:lnTo>
                  <a:pt x="506998" y="29898"/>
                </a:lnTo>
                <a:lnTo>
                  <a:pt x="497286" y="31030"/>
                </a:lnTo>
                <a:lnTo>
                  <a:pt x="487387" y="32613"/>
                </a:lnTo>
                <a:lnTo>
                  <a:pt x="489343" y="47637"/>
                </a:lnTo>
                <a:lnTo>
                  <a:pt x="498564" y="47104"/>
                </a:lnTo>
                <a:lnTo>
                  <a:pt x="506814" y="46729"/>
                </a:lnTo>
                <a:lnTo>
                  <a:pt x="514223" y="46505"/>
                </a:lnTo>
                <a:lnTo>
                  <a:pt x="520750" y="46431"/>
                </a:lnTo>
                <a:lnTo>
                  <a:pt x="555155" y="46431"/>
                </a:lnTo>
                <a:lnTo>
                  <a:pt x="555155" y="46177"/>
                </a:lnTo>
                <a:lnTo>
                  <a:pt x="552767" y="39141"/>
                </a:lnTo>
                <a:lnTo>
                  <a:pt x="543255" y="31026"/>
                </a:lnTo>
                <a:lnTo>
                  <a:pt x="535876" y="28994"/>
                </a:lnTo>
                <a:close/>
              </a:path>
              <a:path w="1039494" h="136525">
                <a:moveTo>
                  <a:pt x="468617" y="31102"/>
                </a:moveTo>
                <a:lnTo>
                  <a:pt x="429094" y="31102"/>
                </a:lnTo>
                <a:lnTo>
                  <a:pt x="420770" y="32276"/>
                </a:lnTo>
                <a:lnTo>
                  <a:pt x="414562" y="35798"/>
                </a:lnTo>
                <a:lnTo>
                  <a:pt x="410474" y="41667"/>
                </a:lnTo>
                <a:lnTo>
                  <a:pt x="408508" y="49885"/>
                </a:lnTo>
                <a:lnTo>
                  <a:pt x="407479" y="60529"/>
                </a:lnTo>
                <a:lnTo>
                  <a:pt x="406336" y="69335"/>
                </a:lnTo>
                <a:lnTo>
                  <a:pt x="391083" y="89395"/>
                </a:lnTo>
                <a:lnTo>
                  <a:pt x="393344" y="105930"/>
                </a:lnTo>
                <a:lnTo>
                  <a:pt x="424720" y="82222"/>
                </a:lnTo>
                <a:lnTo>
                  <a:pt x="428942" y="53936"/>
                </a:lnTo>
                <a:lnTo>
                  <a:pt x="429348" y="51231"/>
                </a:lnTo>
                <a:lnTo>
                  <a:pt x="430123" y="49339"/>
                </a:lnTo>
                <a:lnTo>
                  <a:pt x="432434" y="47129"/>
                </a:lnTo>
                <a:lnTo>
                  <a:pt x="434251" y="46583"/>
                </a:lnTo>
                <a:lnTo>
                  <a:pt x="468617" y="46583"/>
                </a:lnTo>
                <a:lnTo>
                  <a:pt x="468617" y="31102"/>
                </a:lnTo>
                <a:close/>
              </a:path>
              <a:path w="1039494" h="136525">
                <a:moveTo>
                  <a:pt x="468617" y="46583"/>
                </a:moveTo>
                <a:lnTo>
                  <a:pt x="446379" y="46583"/>
                </a:lnTo>
                <a:lnTo>
                  <a:pt x="446379" y="105181"/>
                </a:lnTo>
                <a:lnTo>
                  <a:pt x="468617" y="105181"/>
                </a:lnTo>
                <a:lnTo>
                  <a:pt x="468617" y="46583"/>
                </a:lnTo>
                <a:close/>
              </a:path>
              <a:path w="1039494" h="136525">
                <a:moveTo>
                  <a:pt x="327088" y="31102"/>
                </a:moveTo>
                <a:lnTo>
                  <a:pt x="309054" y="31102"/>
                </a:lnTo>
                <a:lnTo>
                  <a:pt x="309054" y="133718"/>
                </a:lnTo>
                <a:lnTo>
                  <a:pt x="331139" y="133718"/>
                </a:lnTo>
                <a:lnTo>
                  <a:pt x="331139" y="115836"/>
                </a:lnTo>
                <a:lnTo>
                  <a:pt x="331118" y="104305"/>
                </a:lnTo>
                <a:lnTo>
                  <a:pt x="330682" y="99910"/>
                </a:lnTo>
                <a:lnTo>
                  <a:pt x="375927" y="99910"/>
                </a:lnTo>
                <a:lnTo>
                  <a:pt x="376961" y="98640"/>
                </a:lnTo>
                <a:lnTo>
                  <a:pt x="379985" y="93590"/>
                </a:lnTo>
                <a:lnTo>
                  <a:pt x="380955" y="90601"/>
                </a:lnTo>
                <a:lnTo>
                  <a:pt x="344563" y="90601"/>
                </a:lnTo>
                <a:lnTo>
                  <a:pt x="338950" y="89598"/>
                </a:lnTo>
                <a:lnTo>
                  <a:pt x="331139" y="87591"/>
                </a:lnTo>
                <a:lnTo>
                  <a:pt x="331139" y="53644"/>
                </a:lnTo>
                <a:lnTo>
                  <a:pt x="338353" y="48933"/>
                </a:lnTo>
                <a:lnTo>
                  <a:pt x="344462" y="46583"/>
                </a:lnTo>
                <a:lnTo>
                  <a:pt x="380366" y="46583"/>
                </a:lnTo>
                <a:lnTo>
                  <a:pt x="378555" y="41922"/>
                </a:lnTo>
                <a:lnTo>
                  <a:pt x="328739" y="41922"/>
                </a:lnTo>
                <a:lnTo>
                  <a:pt x="327088" y="31102"/>
                </a:lnTo>
                <a:close/>
              </a:path>
              <a:path w="1039494" h="136525">
                <a:moveTo>
                  <a:pt x="375927" y="99910"/>
                </a:moveTo>
                <a:lnTo>
                  <a:pt x="330682" y="99910"/>
                </a:lnTo>
                <a:lnTo>
                  <a:pt x="335897" y="103068"/>
                </a:lnTo>
                <a:lnTo>
                  <a:pt x="341769" y="105322"/>
                </a:lnTo>
                <a:lnTo>
                  <a:pt x="348299" y="106674"/>
                </a:lnTo>
                <a:lnTo>
                  <a:pt x="355485" y="107124"/>
                </a:lnTo>
                <a:lnTo>
                  <a:pt x="365188" y="107124"/>
                </a:lnTo>
                <a:lnTo>
                  <a:pt x="372351" y="104305"/>
                </a:lnTo>
                <a:lnTo>
                  <a:pt x="375927" y="99910"/>
                </a:lnTo>
                <a:close/>
              </a:path>
              <a:path w="1039494" h="136525">
                <a:moveTo>
                  <a:pt x="380366" y="46583"/>
                </a:moveTo>
                <a:lnTo>
                  <a:pt x="353771" y="46583"/>
                </a:lnTo>
                <a:lnTo>
                  <a:pt x="356781" y="48107"/>
                </a:lnTo>
                <a:lnTo>
                  <a:pt x="360184" y="54216"/>
                </a:lnTo>
                <a:lnTo>
                  <a:pt x="361035" y="60096"/>
                </a:lnTo>
                <a:lnTo>
                  <a:pt x="361035" y="77724"/>
                </a:lnTo>
                <a:lnTo>
                  <a:pt x="360108" y="83591"/>
                </a:lnTo>
                <a:lnTo>
                  <a:pt x="356400" y="89204"/>
                </a:lnTo>
                <a:lnTo>
                  <a:pt x="352971" y="90601"/>
                </a:lnTo>
                <a:lnTo>
                  <a:pt x="380955" y="90601"/>
                </a:lnTo>
                <a:lnTo>
                  <a:pt x="382144" y="86936"/>
                </a:lnTo>
                <a:lnTo>
                  <a:pt x="383438" y="78679"/>
                </a:lnTo>
                <a:lnTo>
                  <a:pt x="383870" y="68821"/>
                </a:lnTo>
                <a:lnTo>
                  <a:pt x="382265" y="51469"/>
                </a:lnTo>
                <a:lnTo>
                  <a:pt x="380366" y="46583"/>
                </a:lnTo>
                <a:close/>
              </a:path>
              <a:path w="1039494" h="136525">
                <a:moveTo>
                  <a:pt x="358178" y="29159"/>
                </a:moveTo>
                <a:lnTo>
                  <a:pt x="352577" y="29159"/>
                </a:lnTo>
                <a:lnTo>
                  <a:pt x="347040" y="30353"/>
                </a:lnTo>
                <a:lnTo>
                  <a:pt x="336118" y="35166"/>
                </a:lnTo>
                <a:lnTo>
                  <a:pt x="331838" y="38214"/>
                </a:lnTo>
                <a:lnTo>
                  <a:pt x="328739" y="41922"/>
                </a:lnTo>
                <a:lnTo>
                  <a:pt x="378555" y="41922"/>
                </a:lnTo>
                <a:lnTo>
                  <a:pt x="377448" y="39074"/>
                </a:lnTo>
                <a:lnTo>
                  <a:pt x="369420" y="31638"/>
                </a:lnTo>
                <a:lnTo>
                  <a:pt x="358178" y="29159"/>
                </a:lnTo>
                <a:close/>
              </a:path>
              <a:path w="1039494" h="136525">
                <a:moveTo>
                  <a:pt x="253314" y="0"/>
                </a:moveTo>
                <a:lnTo>
                  <a:pt x="233324" y="0"/>
                </a:lnTo>
                <a:lnTo>
                  <a:pt x="233324" y="29298"/>
                </a:lnTo>
                <a:lnTo>
                  <a:pt x="223287" y="30520"/>
                </a:lnTo>
                <a:lnTo>
                  <a:pt x="193794" y="59172"/>
                </a:lnTo>
                <a:lnTo>
                  <a:pt x="193217" y="68211"/>
                </a:lnTo>
                <a:lnTo>
                  <a:pt x="193794" y="77182"/>
                </a:lnTo>
                <a:lnTo>
                  <a:pt x="223287" y="105467"/>
                </a:lnTo>
                <a:lnTo>
                  <a:pt x="233324" y="106680"/>
                </a:lnTo>
                <a:lnTo>
                  <a:pt x="233324" y="133718"/>
                </a:lnTo>
                <a:lnTo>
                  <a:pt x="253314" y="133718"/>
                </a:lnTo>
                <a:lnTo>
                  <a:pt x="253314" y="106680"/>
                </a:lnTo>
                <a:lnTo>
                  <a:pt x="263358" y="105467"/>
                </a:lnTo>
                <a:lnTo>
                  <a:pt x="288514" y="90601"/>
                </a:lnTo>
                <a:lnTo>
                  <a:pt x="234238" y="90601"/>
                </a:lnTo>
                <a:lnTo>
                  <a:pt x="226720" y="89903"/>
                </a:lnTo>
                <a:lnTo>
                  <a:pt x="221538" y="87947"/>
                </a:lnTo>
                <a:lnTo>
                  <a:pt x="215823" y="81534"/>
                </a:lnTo>
                <a:lnTo>
                  <a:pt x="214401" y="76034"/>
                </a:lnTo>
                <a:lnTo>
                  <a:pt x="214401" y="60299"/>
                </a:lnTo>
                <a:lnTo>
                  <a:pt x="215823" y="54686"/>
                </a:lnTo>
                <a:lnTo>
                  <a:pt x="221538" y="48082"/>
                </a:lnTo>
                <a:lnTo>
                  <a:pt x="226720" y="46075"/>
                </a:lnTo>
                <a:lnTo>
                  <a:pt x="234238" y="45377"/>
                </a:lnTo>
                <a:lnTo>
                  <a:pt x="288406" y="45377"/>
                </a:lnTo>
                <a:lnTo>
                  <a:pt x="288229" y="44980"/>
                </a:lnTo>
                <a:lnTo>
                  <a:pt x="253314" y="29298"/>
                </a:lnTo>
                <a:lnTo>
                  <a:pt x="253314" y="0"/>
                </a:lnTo>
                <a:close/>
              </a:path>
              <a:path w="1039494" h="136525">
                <a:moveTo>
                  <a:pt x="252412" y="45377"/>
                </a:moveTo>
                <a:lnTo>
                  <a:pt x="234238" y="45377"/>
                </a:lnTo>
                <a:lnTo>
                  <a:pt x="234238" y="90601"/>
                </a:lnTo>
                <a:lnTo>
                  <a:pt x="252412" y="90601"/>
                </a:lnTo>
                <a:lnTo>
                  <a:pt x="252412" y="45377"/>
                </a:lnTo>
                <a:close/>
              </a:path>
              <a:path w="1039494" h="136525">
                <a:moveTo>
                  <a:pt x="288406" y="45377"/>
                </a:moveTo>
                <a:lnTo>
                  <a:pt x="252412" y="45377"/>
                </a:lnTo>
                <a:lnTo>
                  <a:pt x="259930" y="46075"/>
                </a:lnTo>
                <a:lnTo>
                  <a:pt x="265099" y="48082"/>
                </a:lnTo>
                <a:lnTo>
                  <a:pt x="270814" y="54686"/>
                </a:lnTo>
                <a:lnTo>
                  <a:pt x="272237" y="60299"/>
                </a:lnTo>
                <a:lnTo>
                  <a:pt x="272237" y="76034"/>
                </a:lnTo>
                <a:lnTo>
                  <a:pt x="270814" y="81534"/>
                </a:lnTo>
                <a:lnTo>
                  <a:pt x="265099" y="87947"/>
                </a:lnTo>
                <a:lnTo>
                  <a:pt x="259930" y="89903"/>
                </a:lnTo>
                <a:lnTo>
                  <a:pt x="252412" y="90601"/>
                </a:lnTo>
                <a:lnTo>
                  <a:pt x="288514" y="90601"/>
                </a:lnTo>
                <a:lnTo>
                  <a:pt x="291114" y="84855"/>
                </a:lnTo>
                <a:lnTo>
                  <a:pt x="292844" y="77182"/>
                </a:lnTo>
                <a:lnTo>
                  <a:pt x="293420" y="68211"/>
                </a:lnTo>
                <a:lnTo>
                  <a:pt x="292844" y="59172"/>
                </a:lnTo>
                <a:lnTo>
                  <a:pt x="291114" y="51428"/>
                </a:lnTo>
                <a:lnTo>
                  <a:pt x="288406" y="45377"/>
                </a:lnTo>
                <a:close/>
              </a:path>
              <a:path w="1039494" h="136525">
                <a:moveTo>
                  <a:pt x="177736" y="54686"/>
                </a:moveTo>
                <a:lnTo>
                  <a:pt x="158661" y="54686"/>
                </a:lnTo>
                <a:lnTo>
                  <a:pt x="158153" y="59702"/>
                </a:lnTo>
                <a:lnTo>
                  <a:pt x="158015" y="61950"/>
                </a:lnTo>
                <a:lnTo>
                  <a:pt x="157911" y="105321"/>
                </a:lnTo>
                <a:lnTo>
                  <a:pt x="177736" y="105321"/>
                </a:lnTo>
                <a:lnTo>
                  <a:pt x="177736" y="54686"/>
                </a:lnTo>
                <a:close/>
              </a:path>
              <a:path w="1039494" h="136525">
                <a:moveTo>
                  <a:pt x="125310" y="31102"/>
                </a:moveTo>
                <a:lnTo>
                  <a:pt x="105625" y="31102"/>
                </a:lnTo>
                <a:lnTo>
                  <a:pt x="105625" y="105181"/>
                </a:lnTo>
                <a:lnTo>
                  <a:pt x="124548" y="105181"/>
                </a:lnTo>
                <a:lnTo>
                  <a:pt x="141237" y="81584"/>
                </a:lnTo>
                <a:lnTo>
                  <a:pt x="124548" y="81584"/>
                </a:lnTo>
                <a:lnTo>
                  <a:pt x="125056" y="77076"/>
                </a:lnTo>
                <a:lnTo>
                  <a:pt x="125206" y="74930"/>
                </a:lnTo>
                <a:lnTo>
                  <a:pt x="125310" y="31102"/>
                </a:lnTo>
                <a:close/>
              </a:path>
              <a:path w="1039494" h="136525">
                <a:moveTo>
                  <a:pt x="177736" y="31102"/>
                </a:moveTo>
                <a:lnTo>
                  <a:pt x="158813" y="31102"/>
                </a:lnTo>
                <a:lnTo>
                  <a:pt x="130568" y="71526"/>
                </a:lnTo>
                <a:lnTo>
                  <a:pt x="128168" y="74930"/>
                </a:lnTo>
                <a:lnTo>
                  <a:pt x="126314" y="78282"/>
                </a:lnTo>
                <a:lnTo>
                  <a:pt x="125006" y="81584"/>
                </a:lnTo>
                <a:lnTo>
                  <a:pt x="141237" y="81584"/>
                </a:lnTo>
                <a:lnTo>
                  <a:pt x="152501" y="65659"/>
                </a:lnTo>
                <a:lnTo>
                  <a:pt x="155105" y="61950"/>
                </a:lnTo>
                <a:lnTo>
                  <a:pt x="156959" y="58305"/>
                </a:lnTo>
                <a:lnTo>
                  <a:pt x="158064" y="54686"/>
                </a:lnTo>
                <a:lnTo>
                  <a:pt x="177736" y="54686"/>
                </a:lnTo>
                <a:lnTo>
                  <a:pt x="177736" y="31102"/>
                </a:lnTo>
                <a:close/>
              </a:path>
              <a:path w="1039494" h="136525">
                <a:moveTo>
                  <a:pt x="22847" y="1498"/>
                </a:moveTo>
                <a:lnTo>
                  <a:pt x="0" y="1498"/>
                </a:lnTo>
                <a:lnTo>
                  <a:pt x="0" y="105181"/>
                </a:lnTo>
                <a:lnTo>
                  <a:pt x="74675" y="105181"/>
                </a:lnTo>
                <a:lnTo>
                  <a:pt x="76479" y="127863"/>
                </a:lnTo>
                <a:lnTo>
                  <a:pt x="92709" y="127863"/>
                </a:lnTo>
                <a:lnTo>
                  <a:pt x="92709" y="88646"/>
                </a:lnTo>
                <a:lnTo>
                  <a:pt x="22847" y="88646"/>
                </a:lnTo>
                <a:lnTo>
                  <a:pt x="22847" y="1498"/>
                </a:lnTo>
                <a:close/>
              </a:path>
              <a:path w="1039494" h="136525">
                <a:moveTo>
                  <a:pt x="80378" y="1498"/>
                </a:moveTo>
                <a:lnTo>
                  <a:pt x="57391" y="1498"/>
                </a:lnTo>
                <a:lnTo>
                  <a:pt x="57391" y="88646"/>
                </a:lnTo>
                <a:lnTo>
                  <a:pt x="80378" y="88646"/>
                </a:lnTo>
                <a:lnTo>
                  <a:pt x="80378" y="1498"/>
                </a:lnTo>
                <a:close/>
              </a:path>
            </a:pathLst>
          </a:custGeom>
          <a:solidFill>
            <a:srgbClr val="1F385D"/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8" name="object 27">
            <a:extLst>
              <a:ext uri="{FF2B5EF4-FFF2-40B4-BE49-F238E27FC236}">
                <a16:creationId xmlns:a16="http://schemas.microsoft.com/office/drawing/2014/main" id="{5706A711-F6FB-4D0C-B52C-48F446389D5C}"/>
              </a:ext>
            </a:extLst>
          </p:cNvPr>
          <p:cNvSpPr/>
          <p:nvPr/>
        </p:nvSpPr>
        <p:spPr>
          <a:xfrm>
            <a:off x="10466922" y="3225"/>
            <a:ext cx="1726564" cy="1136650"/>
          </a:xfrm>
          <a:custGeom>
            <a:avLst/>
            <a:gdLst/>
            <a:ahLst/>
            <a:cxnLst/>
            <a:rect l="l" t="t" r="r" b="b"/>
            <a:pathLst>
              <a:path w="1726565" h="1136650">
                <a:moveTo>
                  <a:pt x="1171375" y="903562"/>
                </a:moveTo>
                <a:lnTo>
                  <a:pt x="1098911" y="903562"/>
                </a:lnTo>
                <a:lnTo>
                  <a:pt x="1347488" y="1068104"/>
                </a:lnTo>
                <a:lnTo>
                  <a:pt x="1346612" y="1072053"/>
                </a:lnTo>
                <a:lnTo>
                  <a:pt x="1346158" y="1075444"/>
                </a:lnTo>
                <a:lnTo>
                  <a:pt x="1346066" y="1080334"/>
                </a:lnTo>
                <a:lnTo>
                  <a:pt x="1350478" y="1102190"/>
                </a:lnTo>
                <a:lnTo>
                  <a:pt x="1362509" y="1120037"/>
                </a:lnTo>
                <a:lnTo>
                  <a:pt x="1380356" y="1132069"/>
                </a:lnTo>
                <a:lnTo>
                  <a:pt x="1402213" y="1136480"/>
                </a:lnTo>
                <a:lnTo>
                  <a:pt x="1424069" y="1132069"/>
                </a:lnTo>
                <a:lnTo>
                  <a:pt x="1441916" y="1120037"/>
                </a:lnTo>
                <a:lnTo>
                  <a:pt x="1453948" y="1102190"/>
                </a:lnTo>
                <a:lnTo>
                  <a:pt x="1458359" y="1080334"/>
                </a:lnTo>
                <a:lnTo>
                  <a:pt x="1458359" y="1078657"/>
                </a:lnTo>
                <a:lnTo>
                  <a:pt x="1458017" y="1077083"/>
                </a:lnTo>
                <a:lnTo>
                  <a:pt x="1457864" y="1075444"/>
                </a:lnTo>
                <a:lnTo>
                  <a:pt x="1531712" y="1039376"/>
                </a:lnTo>
                <a:lnTo>
                  <a:pt x="1440402" y="1039376"/>
                </a:lnTo>
                <a:lnTo>
                  <a:pt x="1437176" y="1036379"/>
                </a:lnTo>
                <a:lnTo>
                  <a:pt x="1434882" y="1034766"/>
                </a:lnTo>
                <a:lnTo>
                  <a:pt x="1369612" y="1034766"/>
                </a:lnTo>
                <a:lnTo>
                  <a:pt x="1171375" y="903562"/>
                </a:lnTo>
                <a:close/>
              </a:path>
              <a:path w="1726565" h="1136650">
                <a:moveTo>
                  <a:pt x="575652" y="941980"/>
                </a:moveTo>
                <a:lnTo>
                  <a:pt x="489769" y="941980"/>
                </a:lnTo>
                <a:lnTo>
                  <a:pt x="731894" y="1069399"/>
                </a:lnTo>
                <a:lnTo>
                  <a:pt x="731716" y="1071177"/>
                </a:lnTo>
                <a:lnTo>
                  <a:pt x="731348" y="1072904"/>
                </a:lnTo>
                <a:lnTo>
                  <a:pt x="731348" y="1074720"/>
                </a:lnTo>
                <a:lnTo>
                  <a:pt x="735561" y="1095593"/>
                </a:lnTo>
                <a:lnTo>
                  <a:pt x="747052" y="1112636"/>
                </a:lnTo>
                <a:lnTo>
                  <a:pt x="764095" y="1124127"/>
                </a:lnTo>
                <a:lnTo>
                  <a:pt x="784967" y="1128340"/>
                </a:lnTo>
                <a:lnTo>
                  <a:pt x="805549" y="1124237"/>
                </a:lnTo>
                <a:lnTo>
                  <a:pt x="822410" y="1113033"/>
                </a:lnTo>
                <a:lnTo>
                  <a:pt x="833924" y="1096386"/>
                </a:lnTo>
                <a:lnTo>
                  <a:pt x="838460" y="1075952"/>
                </a:lnTo>
                <a:lnTo>
                  <a:pt x="896138" y="1037776"/>
                </a:lnTo>
                <a:lnTo>
                  <a:pt x="823664" y="1037776"/>
                </a:lnTo>
                <a:lnTo>
                  <a:pt x="819275" y="1033991"/>
                </a:lnTo>
                <a:lnTo>
                  <a:pt x="750487" y="1033991"/>
                </a:lnTo>
                <a:lnTo>
                  <a:pt x="575652" y="941980"/>
                </a:lnTo>
                <a:close/>
              </a:path>
              <a:path w="1726565" h="1136650">
                <a:moveTo>
                  <a:pt x="1726271" y="899753"/>
                </a:moveTo>
                <a:lnTo>
                  <a:pt x="1440402" y="1039376"/>
                </a:lnTo>
                <a:lnTo>
                  <a:pt x="1531712" y="1039376"/>
                </a:lnTo>
                <a:lnTo>
                  <a:pt x="1726271" y="944351"/>
                </a:lnTo>
                <a:lnTo>
                  <a:pt x="1726271" y="899753"/>
                </a:lnTo>
                <a:close/>
              </a:path>
              <a:path w="1726565" h="1136650">
                <a:moveTo>
                  <a:pt x="990529" y="303995"/>
                </a:moveTo>
                <a:lnTo>
                  <a:pt x="918876" y="303995"/>
                </a:lnTo>
                <a:lnTo>
                  <a:pt x="926491" y="306801"/>
                </a:lnTo>
                <a:lnTo>
                  <a:pt x="934431" y="308863"/>
                </a:lnTo>
                <a:lnTo>
                  <a:pt x="942651" y="310168"/>
                </a:lnTo>
                <a:lnTo>
                  <a:pt x="951109" y="310701"/>
                </a:lnTo>
                <a:lnTo>
                  <a:pt x="1076407" y="870479"/>
                </a:lnTo>
                <a:lnTo>
                  <a:pt x="823664" y="1037776"/>
                </a:lnTo>
                <a:lnTo>
                  <a:pt x="896138" y="1037776"/>
                </a:lnTo>
                <a:lnTo>
                  <a:pt x="1098911" y="903562"/>
                </a:lnTo>
                <a:lnTo>
                  <a:pt x="1171375" y="903562"/>
                </a:lnTo>
                <a:lnTo>
                  <a:pt x="1117225" y="867723"/>
                </a:lnTo>
                <a:lnTo>
                  <a:pt x="1131825" y="847314"/>
                </a:lnTo>
                <a:lnTo>
                  <a:pt x="1112157" y="847314"/>
                </a:lnTo>
                <a:lnTo>
                  <a:pt x="990529" y="303995"/>
                </a:lnTo>
                <a:close/>
              </a:path>
              <a:path w="1726565" h="1136650">
                <a:moveTo>
                  <a:pt x="1608191" y="406408"/>
                </a:moveTo>
                <a:lnTo>
                  <a:pt x="1447247" y="406408"/>
                </a:lnTo>
                <a:lnTo>
                  <a:pt x="1456390" y="411673"/>
                </a:lnTo>
                <a:lnTo>
                  <a:pt x="1465962" y="416205"/>
                </a:lnTo>
                <a:lnTo>
                  <a:pt x="1475927" y="420001"/>
                </a:lnTo>
                <a:lnTo>
                  <a:pt x="1486249" y="423058"/>
                </a:lnTo>
                <a:lnTo>
                  <a:pt x="1478001" y="472395"/>
                </a:lnTo>
                <a:lnTo>
                  <a:pt x="1469805" y="521845"/>
                </a:lnTo>
                <a:lnTo>
                  <a:pt x="1461659" y="571421"/>
                </a:lnTo>
                <a:lnTo>
                  <a:pt x="1453562" y="621136"/>
                </a:lnTo>
                <a:lnTo>
                  <a:pt x="1445511" y="671004"/>
                </a:lnTo>
                <a:lnTo>
                  <a:pt x="1437504" y="721038"/>
                </a:lnTo>
                <a:lnTo>
                  <a:pt x="1429541" y="771252"/>
                </a:lnTo>
                <a:lnTo>
                  <a:pt x="1421620" y="821660"/>
                </a:lnTo>
                <a:lnTo>
                  <a:pt x="1413738" y="872275"/>
                </a:lnTo>
                <a:lnTo>
                  <a:pt x="1405894" y="923110"/>
                </a:lnTo>
                <a:lnTo>
                  <a:pt x="1398086" y="974179"/>
                </a:lnTo>
                <a:lnTo>
                  <a:pt x="1390313" y="1025495"/>
                </a:lnTo>
                <a:lnTo>
                  <a:pt x="1382706" y="1027146"/>
                </a:lnTo>
                <a:lnTo>
                  <a:pt x="1375733" y="1030385"/>
                </a:lnTo>
                <a:lnTo>
                  <a:pt x="1369612" y="1034766"/>
                </a:lnTo>
                <a:lnTo>
                  <a:pt x="1434882" y="1034766"/>
                </a:lnTo>
                <a:lnTo>
                  <a:pt x="1433582" y="1033852"/>
                </a:lnTo>
                <a:lnTo>
                  <a:pt x="1429721" y="1031667"/>
                </a:lnTo>
                <a:lnTo>
                  <a:pt x="1519878" y="427744"/>
                </a:lnTo>
                <a:lnTo>
                  <a:pt x="1520511" y="427744"/>
                </a:lnTo>
                <a:lnTo>
                  <a:pt x="1532895" y="427122"/>
                </a:lnTo>
                <a:lnTo>
                  <a:pt x="1545356" y="425255"/>
                </a:lnTo>
                <a:lnTo>
                  <a:pt x="1557429" y="422283"/>
                </a:lnTo>
                <a:lnTo>
                  <a:pt x="1569091" y="418321"/>
                </a:lnTo>
                <a:lnTo>
                  <a:pt x="1614916" y="418321"/>
                </a:lnTo>
                <a:lnTo>
                  <a:pt x="1608191" y="406408"/>
                </a:lnTo>
                <a:close/>
              </a:path>
              <a:path w="1726565" h="1136650">
                <a:moveTo>
                  <a:pt x="784967" y="1021114"/>
                </a:moveTo>
                <a:lnTo>
                  <a:pt x="775322" y="1022011"/>
                </a:lnTo>
                <a:lnTo>
                  <a:pt x="766279" y="1024581"/>
                </a:lnTo>
                <a:lnTo>
                  <a:pt x="757960" y="1028636"/>
                </a:lnTo>
                <a:lnTo>
                  <a:pt x="750487" y="1033991"/>
                </a:lnTo>
                <a:lnTo>
                  <a:pt x="819275" y="1033991"/>
                </a:lnTo>
                <a:lnTo>
                  <a:pt x="815643" y="1030860"/>
                </a:lnTo>
                <a:lnTo>
                  <a:pt x="806373" y="1025611"/>
                </a:lnTo>
                <a:lnTo>
                  <a:pt x="796075" y="1022279"/>
                </a:lnTo>
                <a:lnTo>
                  <a:pt x="784967" y="1021114"/>
                </a:lnTo>
                <a:close/>
              </a:path>
              <a:path w="1726565" h="1136650">
                <a:moveTo>
                  <a:pt x="44268" y="0"/>
                </a:moveTo>
                <a:lnTo>
                  <a:pt x="0" y="0"/>
                </a:lnTo>
                <a:lnTo>
                  <a:pt x="412248" y="861335"/>
                </a:lnTo>
                <a:lnTo>
                  <a:pt x="405781" y="869509"/>
                </a:lnTo>
                <a:lnTo>
                  <a:pt x="400891" y="878796"/>
                </a:lnTo>
                <a:lnTo>
                  <a:pt x="397796" y="889004"/>
                </a:lnTo>
                <a:lnTo>
                  <a:pt x="396716" y="899943"/>
                </a:lnTo>
                <a:lnTo>
                  <a:pt x="401128" y="921807"/>
                </a:lnTo>
                <a:lnTo>
                  <a:pt x="413161" y="939657"/>
                </a:lnTo>
                <a:lnTo>
                  <a:pt x="431011" y="951690"/>
                </a:lnTo>
                <a:lnTo>
                  <a:pt x="452875" y="956102"/>
                </a:lnTo>
                <a:lnTo>
                  <a:pt x="463233" y="955117"/>
                </a:lnTo>
                <a:lnTo>
                  <a:pt x="472932" y="952299"/>
                </a:lnTo>
                <a:lnTo>
                  <a:pt x="481825" y="947851"/>
                </a:lnTo>
                <a:lnTo>
                  <a:pt x="489769" y="941980"/>
                </a:lnTo>
                <a:lnTo>
                  <a:pt x="575652" y="941980"/>
                </a:lnTo>
                <a:lnTo>
                  <a:pt x="508349" y="906560"/>
                </a:lnTo>
                <a:lnTo>
                  <a:pt x="508603" y="904363"/>
                </a:lnTo>
                <a:lnTo>
                  <a:pt x="509009" y="902216"/>
                </a:lnTo>
                <a:lnTo>
                  <a:pt x="508995" y="899753"/>
                </a:lnTo>
                <a:lnTo>
                  <a:pt x="508400" y="891756"/>
                </a:lnTo>
                <a:lnTo>
                  <a:pt x="506639" y="883949"/>
                </a:lnTo>
                <a:lnTo>
                  <a:pt x="503828" y="876592"/>
                </a:lnTo>
                <a:lnTo>
                  <a:pt x="500068" y="869755"/>
                </a:lnTo>
                <a:lnTo>
                  <a:pt x="524549" y="836684"/>
                </a:lnTo>
                <a:lnTo>
                  <a:pt x="474833" y="836684"/>
                </a:lnTo>
                <a:lnTo>
                  <a:pt x="475439" y="817368"/>
                </a:lnTo>
                <a:lnTo>
                  <a:pt x="435463" y="817368"/>
                </a:lnTo>
                <a:lnTo>
                  <a:pt x="44268" y="0"/>
                </a:lnTo>
                <a:close/>
              </a:path>
              <a:path w="1726565" h="1136650">
                <a:moveTo>
                  <a:pt x="1380397" y="254554"/>
                </a:moveTo>
                <a:lnTo>
                  <a:pt x="1032630" y="254554"/>
                </a:lnTo>
                <a:lnTo>
                  <a:pt x="1383620" y="295220"/>
                </a:lnTo>
                <a:lnTo>
                  <a:pt x="1387898" y="325069"/>
                </a:lnTo>
                <a:lnTo>
                  <a:pt x="1398281" y="352397"/>
                </a:lnTo>
                <a:lnTo>
                  <a:pt x="1414033" y="376546"/>
                </a:lnTo>
                <a:lnTo>
                  <a:pt x="1434420" y="396858"/>
                </a:lnTo>
                <a:lnTo>
                  <a:pt x="1112157" y="847314"/>
                </a:lnTo>
                <a:lnTo>
                  <a:pt x="1131825" y="847314"/>
                </a:lnTo>
                <a:lnTo>
                  <a:pt x="1447247" y="406408"/>
                </a:lnTo>
                <a:lnTo>
                  <a:pt x="1608191" y="406408"/>
                </a:lnTo>
                <a:lnTo>
                  <a:pt x="1603724" y="398496"/>
                </a:lnTo>
                <a:lnTo>
                  <a:pt x="1625602" y="377293"/>
                </a:lnTo>
                <a:lnTo>
                  <a:pt x="1642382" y="351770"/>
                </a:lnTo>
                <a:lnTo>
                  <a:pt x="1653133" y="322708"/>
                </a:lnTo>
                <a:lnTo>
                  <a:pt x="1656924" y="290889"/>
                </a:lnTo>
                <a:lnTo>
                  <a:pt x="1656207" y="276813"/>
                </a:lnTo>
                <a:lnTo>
                  <a:pt x="1654105" y="263147"/>
                </a:lnTo>
                <a:lnTo>
                  <a:pt x="1652118" y="255481"/>
                </a:lnTo>
                <a:lnTo>
                  <a:pt x="1388395" y="255481"/>
                </a:lnTo>
                <a:lnTo>
                  <a:pt x="1380397" y="254554"/>
                </a:lnTo>
                <a:close/>
              </a:path>
              <a:path w="1726565" h="1136650">
                <a:moveTo>
                  <a:pt x="1031945" y="255977"/>
                </a:moveTo>
                <a:lnTo>
                  <a:pt x="872661" y="255977"/>
                </a:lnTo>
                <a:lnTo>
                  <a:pt x="875501" y="262435"/>
                </a:lnTo>
                <a:lnTo>
                  <a:pt x="878868" y="268572"/>
                </a:lnTo>
                <a:lnTo>
                  <a:pt x="882716" y="274390"/>
                </a:lnTo>
                <a:lnTo>
                  <a:pt x="886999" y="279891"/>
                </a:lnTo>
                <a:lnTo>
                  <a:pt x="474833" y="836684"/>
                </a:lnTo>
                <a:lnTo>
                  <a:pt x="524549" y="836684"/>
                </a:lnTo>
                <a:lnTo>
                  <a:pt x="918876" y="303995"/>
                </a:lnTo>
                <a:lnTo>
                  <a:pt x="990529" y="303995"/>
                </a:lnTo>
                <a:lnTo>
                  <a:pt x="990034" y="301786"/>
                </a:lnTo>
                <a:lnTo>
                  <a:pt x="1003910" y="293240"/>
                </a:lnTo>
                <a:lnTo>
                  <a:pt x="1015842" y="282318"/>
                </a:lnTo>
                <a:lnTo>
                  <a:pt x="1025519" y="269323"/>
                </a:lnTo>
                <a:lnTo>
                  <a:pt x="1031945" y="255977"/>
                </a:lnTo>
                <a:close/>
              </a:path>
              <a:path w="1726565" h="1136650">
                <a:moveTo>
                  <a:pt x="161705" y="0"/>
                </a:moveTo>
                <a:lnTo>
                  <a:pt x="99896" y="0"/>
                </a:lnTo>
                <a:lnTo>
                  <a:pt x="385527" y="242413"/>
                </a:lnTo>
                <a:lnTo>
                  <a:pt x="380326" y="253303"/>
                </a:lnTo>
                <a:lnTo>
                  <a:pt x="376400" y="264830"/>
                </a:lnTo>
                <a:lnTo>
                  <a:pt x="373920" y="276941"/>
                </a:lnTo>
                <a:lnTo>
                  <a:pt x="373056" y="289581"/>
                </a:lnTo>
                <a:lnTo>
                  <a:pt x="378806" y="322817"/>
                </a:lnTo>
                <a:lnTo>
                  <a:pt x="394719" y="351187"/>
                </a:lnTo>
                <a:lnTo>
                  <a:pt x="418790" y="372754"/>
                </a:lnTo>
                <a:lnTo>
                  <a:pt x="449014" y="385580"/>
                </a:lnTo>
                <a:lnTo>
                  <a:pt x="435463" y="817368"/>
                </a:lnTo>
                <a:lnTo>
                  <a:pt x="475439" y="817368"/>
                </a:lnTo>
                <a:lnTo>
                  <a:pt x="488943" y="386825"/>
                </a:lnTo>
                <a:lnTo>
                  <a:pt x="519869" y="375903"/>
                </a:lnTo>
                <a:lnTo>
                  <a:pt x="544985" y="355931"/>
                </a:lnTo>
                <a:lnTo>
                  <a:pt x="562409" y="328841"/>
                </a:lnTo>
                <a:lnTo>
                  <a:pt x="570261" y="296566"/>
                </a:lnTo>
                <a:lnTo>
                  <a:pt x="865565" y="256929"/>
                </a:lnTo>
                <a:lnTo>
                  <a:pt x="565003" y="256929"/>
                </a:lnTo>
                <a:lnTo>
                  <a:pt x="556168" y="238180"/>
                </a:lnTo>
                <a:lnTo>
                  <a:pt x="543837" y="221817"/>
                </a:lnTo>
                <a:lnTo>
                  <a:pt x="532479" y="211895"/>
                </a:lnTo>
                <a:lnTo>
                  <a:pt x="411384" y="211895"/>
                </a:lnTo>
                <a:lnTo>
                  <a:pt x="161705" y="0"/>
                </a:lnTo>
                <a:close/>
              </a:path>
              <a:path w="1726565" h="1136650">
                <a:moveTo>
                  <a:pt x="1614916" y="418321"/>
                </a:moveTo>
                <a:lnTo>
                  <a:pt x="1569091" y="418321"/>
                </a:lnTo>
                <a:lnTo>
                  <a:pt x="1726271" y="696728"/>
                </a:lnTo>
                <a:lnTo>
                  <a:pt x="1726271" y="615557"/>
                </a:lnTo>
                <a:lnTo>
                  <a:pt x="1614916" y="418321"/>
                </a:lnTo>
                <a:close/>
              </a:path>
              <a:path w="1726565" h="1136650">
                <a:moveTo>
                  <a:pt x="1520511" y="427744"/>
                </a:moveTo>
                <a:lnTo>
                  <a:pt x="1519878" y="427744"/>
                </a:lnTo>
                <a:lnTo>
                  <a:pt x="1520005" y="427770"/>
                </a:lnTo>
                <a:lnTo>
                  <a:pt x="1520511" y="427744"/>
                </a:lnTo>
                <a:close/>
              </a:path>
              <a:path w="1726565" h="1136650">
                <a:moveTo>
                  <a:pt x="784345" y="0"/>
                </a:moveTo>
                <a:lnTo>
                  <a:pt x="731518" y="0"/>
                </a:lnTo>
                <a:lnTo>
                  <a:pt x="882935" y="175256"/>
                </a:lnTo>
                <a:lnTo>
                  <a:pt x="877173" y="184509"/>
                </a:lnTo>
                <a:lnTo>
                  <a:pt x="872662" y="194506"/>
                </a:lnTo>
                <a:lnTo>
                  <a:pt x="869450" y="205145"/>
                </a:lnTo>
                <a:lnTo>
                  <a:pt x="867581" y="216327"/>
                </a:lnTo>
                <a:lnTo>
                  <a:pt x="565003" y="256929"/>
                </a:lnTo>
                <a:lnTo>
                  <a:pt x="865565" y="256929"/>
                </a:lnTo>
                <a:lnTo>
                  <a:pt x="872661" y="255977"/>
                </a:lnTo>
                <a:lnTo>
                  <a:pt x="1031945" y="255977"/>
                </a:lnTo>
                <a:lnTo>
                  <a:pt x="1032630" y="254554"/>
                </a:lnTo>
                <a:lnTo>
                  <a:pt x="1380397" y="254554"/>
                </a:lnTo>
                <a:lnTo>
                  <a:pt x="1037113" y="214765"/>
                </a:lnTo>
                <a:lnTo>
                  <a:pt x="1034964" y="203433"/>
                </a:lnTo>
                <a:lnTo>
                  <a:pt x="1031406" y="192701"/>
                </a:lnTo>
                <a:lnTo>
                  <a:pt x="1026517" y="182656"/>
                </a:lnTo>
                <a:lnTo>
                  <a:pt x="1020375" y="173389"/>
                </a:lnTo>
                <a:lnTo>
                  <a:pt x="1040047" y="149259"/>
                </a:lnTo>
                <a:lnTo>
                  <a:pt x="913301" y="149259"/>
                </a:lnTo>
                <a:lnTo>
                  <a:pt x="784345" y="0"/>
                </a:lnTo>
                <a:close/>
              </a:path>
              <a:path w="1726565" h="1136650">
                <a:moveTo>
                  <a:pt x="1524209" y="154021"/>
                </a:moveTo>
                <a:lnTo>
                  <a:pt x="1520069" y="154021"/>
                </a:lnTo>
                <a:lnTo>
                  <a:pt x="1475001" y="161673"/>
                </a:lnTo>
                <a:lnTo>
                  <a:pt x="1436377" y="182882"/>
                </a:lnTo>
                <a:lnTo>
                  <a:pt x="1406681" y="215025"/>
                </a:lnTo>
                <a:lnTo>
                  <a:pt x="1388395" y="255481"/>
                </a:lnTo>
                <a:lnTo>
                  <a:pt x="1652118" y="255481"/>
                </a:lnTo>
                <a:lnTo>
                  <a:pt x="1650687" y="249961"/>
                </a:lnTo>
                <a:lnTo>
                  <a:pt x="1646027" y="237320"/>
                </a:lnTo>
                <a:lnTo>
                  <a:pt x="1701295" y="203538"/>
                </a:lnTo>
                <a:lnTo>
                  <a:pt x="1624628" y="203538"/>
                </a:lnTo>
                <a:lnTo>
                  <a:pt x="1612019" y="190332"/>
                </a:lnTo>
                <a:lnTo>
                  <a:pt x="1597798" y="178937"/>
                </a:lnTo>
                <a:lnTo>
                  <a:pt x="1582106" y="169511"/>
                </a:lnTo>
                <a:lnTo>
                  <a:pt x="1565090" y="162213"/>
                </a:lnTo>
                <a:lnTo>
                  <a:pt x="1566428" y="155228"/>
                </a:lnTo>
                <a:lnTo>
                  <a:pt x="1532172" y="155228"/>
                </a:lnTo>
                <a:lnTo>
                  <a:pt x="1528121" y="154872"/>
                </a:lnTo>
                <a:lnTo>
                  <a:pt x="1524209" y="154021"/>
                </a:lnTo>
                <a:close/>
              </a:path>
              <a:path w="1726565" h="1136650">
                <a:moveTo>
                  <a:pt x="480015" y="190635"/>
                </a:moveTo>
                <a:lnTo>
                  <a:pt x="472001" y="190635"/>
                </a:lnTo>
                <a:lnTo>
                  <a:pt x="455209" y="192112"/>
                </a:lnTo>
                <a:lnTo>
                  <a:pt x="439383" y="196345"/>
                </a:lnTo>
                <a:lnTo>
                  <a:pt x="424711" y="203039"/>
                </a:lnTo>
                <a:lnTo>
                  <a:pt x="411384" y="211895"/>
                </a:lnTo>
                <a:lnTo>
                  <a:pt x="532479" y="211895"/>
                </a:lnTo>
                <a:lnTo>
                  <a:pt x="528447" y="208373"/>
                </a:lnTo>
                <a:lnTo>
                  <a:pt x="510431" y="198382"/>
                </a:lnTo>
                <a:lnTo>
                  <a:pt x="511993" y="193632"/>
                </a:lnTo>
                <a:lnTo>
                  <a:pt x="495141" y="193632"/>
                </a:lnTo>
                <a:lnTo>
                  <a:pt x="487686" y="191842"/>
                </a:lnTo>
                <a:lnTo>
                  <a:pt x="480015" y="190635"/>
                </a:lnTo>
                <a:close/>
              </a:path>
              <a:path w="1726565" h="1136650">
                <a:moveTo>
                  <a:pt x="1726271" y="141405"/>
                </a:moveTo>
                <a:lnTo>
                  <a:pt x="1624628" y="203538"/>
                </a:lnTo>
                <a:lnTo>
                  <a:pt x="1701295" y="203538"/>
                </a:lnTo>
                <a:lnTo>
                  <a:pt x="1726271" y="188272"/>
                </a:lnTo>
                <a:lnTo>
                  <a:pt x="1726271" y="141405"/>
                </a:lnTo>
                <a:close/>
              </a:path>
              <a:path w="1726565" h="1136650">
                <a:moveTo>
                  <a:pt x="575661" y="0"/>
                </a:moveTo>
                <a:lnTo>
                  <a:pt x="558812" y="0"/>
                </a:lnTo>
                <a:lnTo>
                  <a:pt x="495141" y="193632"/>
                </a:lnTo>
                <a:lnTo>
                  <a:pt x="511993" y="193632"/>
                </a:lnTo>
                <a:lnTo>
                  <a:pt x="575661" y="0"/>
                </a:lnTo>
                <a:close/>
              </a:path>
              <a:path w="1726565" h="1136650">
                <a:moveTo>
                  <a:pt x="1596166" y="0"/>
                </a:moveTo>
                <a:lnTo>
                  <a:pt x="1559626" y="0"/>
                </a:lnTo>
                <a:lnTo>
                  <a:pt x="1549243" y="58306"/>
                </a:lnTo>
                <a:lnTo>
                  <a:pt x="1540676" y="106782"/>
                </a:lnTo>
                <a:lnTo>
                  <a:pt x="1532172" y="155228"/>
                </a:lnTo>
                <a:lnTo>
                  <a:pt x="1566428" y="155228"/>
                </a:lnTo>
                <a:lnTo>
                  <a:pt x="1596166" y="0"/>
                </a:lnTo>
                <a:close/>
              </a:path>
              <a:path w="1726565" h="1136650">
                <a:moveTo>
                  <a:pt x="952506" y="139391"/>
                </a:moveTo>
                <a:lnTo>
                  <a:pt x="941985" y="140075"/>
                </a:lnTo>
                <a:lnTo>
                  <a:pt x="931956" y="142039"/>
                </a:lnTo>
                <a:lnTo>
                  <a:pt x="922381" y="145145"/>
                </a:lnTo>
                <a:lnTo>
                  <a:pt x="913301" y="149259"/>
                </a:lnTo>
                <a:lnTo>
                  <a:pt x="1040047" y="149259"/>
                </a:lnTo>
                <a:lnTo>
                  <a:pt x="1044250" y="144102"/>
                </a:lnTo>
                <a:lnTo>
                  <a:pt x="992676" y="144102"/>
                </a:lnTo>
                <a:lnTo>
                  <a:pt x="993815" y="139416"/>
                </a:lnTo>
                <a:lnTo>
                  <a:pt x="952684" y="139416"/>
                </a:lnTo>
                <a:lnTo>
                  <a:pt x="952506" y="139391"/>
                </a:lnTo>
                <a:close/>
              </a:path>
              <a:path w="1726565" h="1136650">
                <a:moveTo>
                  <a:pt x="1161732" y="0"/>
                </a:moveTo>
                <a:lnTo>
                  <a:pt x="1110161" y="0"/>
                </a:lnTo>
                <a:lnTo>
                  <a:pt x="992676" y="144102"/>
                </a:lnTo>
                <a:lnTo>
                  <a:pt x="1044250" y="144102"/>
                </a:lnTo>
                <a:lnTo>
                  <a:pt x="1161732" y="0"/>
                </a:lnTo>
                <a:close/>
              </a:path>
              <a:path w="1726565" h="1136650">
                <a:moveTo>
                  <a:pt x="1027704" y="0"/>
                </a:moveTo>
                <a:lnTo>
                  <a:pt x="986574" y="0"/>
                </a:lnTo>
                <a:lnTo>
                  <a:pt x="952684" y="139416"/>
                </a:lnTo>
                <a:lnTo>
                  <a:pt x="993815" y="139416"/>
                </a:lnTo>
                <a:lnTo>
                  <a:pt x="1027704" y="0"/>
                </a:lnTo>
                <a:close/>
              </a:path>
            </a:pathLst>
          </a:custGeom>
          <a:solidFill>
            <a:srgbClr val="D8173E">
              <a:alpha val="16998"/>
            </a:srgbClr>
          </a:solid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3F290DB-5C28-4FBF-A5A4-757884961DB7}"/>
              </a:ext>
            </a:extLst>
          </p:cNvPr>
          <p:cNvSpPr/>
          <p:nvPr/>
        </p:nvSpPr>
        <p:spPr>
          <a:xfrm>
            <a:off x="3659013" y="202218"/>
            <a:ext cx="515414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 err="1">
                <a:latin typeface="Century Gothic" pitchFamily="34" charset="0"/>
              </a:rPr>
              <a:t>Анықтамалық</a:t>
            </a:r>
            <a:r>
              <a:rPr lang="ru-RU" b="1" dirty="0">
                <a:latin typeface="Century Gothic" pitchFamily="34" charset="0"/>
              </a:rPr>
              <a:t> стандарт</a:t>
            </a:r>
          </a:p>
        </p:txBody>
      </p:sp>
      <p:sp>
        <p:nvSpPr>
          <p:cNvPr id="12" name="object 23">
            <a:extLst>
              <a:ext uri="{FF2B5EF4-FFF2-40B4-BE49-F238E27FC236}">
                <a16:creationId xmlns:a16="http://schemas.microsoft.com/office/drawing/2014/main" id="{EDCEE8A9-E470-4D44-A148-9AA603E7E8B4}"/>
              </a:ext>
            </a:extLst>
          </p:cNvPr>
          <p:cNvSpPr/>
          <p:nvPr/>
        </p:nvSpPr>
        <p:spPr>
          <a:xfrm>
            <a:off x="191344" y="188640"/>
            <a:ext cx="409359" cy="50048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>
              <a:latin typeface="Century Gothic" pitchFamily="34" charset="0"/>
            </a:endParaRPr>
          </a:p>
        </p:txBody>
      </p:sp>
      <p:graphicFrame>
        <p:nvGraphicFramePr>
          <p:cNvPr id="13" name="Схема 12">
            <a:extLst>
              <a:ext uri="{FF2B5EF4-FFF2-40B4-BE49-F238E27FC236}">
                <a16:creationId xmlns:a16="http://schemas.microsoft.com/office/drawing/2014/main" id="{7BAB1A90-0848-4055-A298-4891C0A6CF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27148753"/>
              </p:ext>
            </p:extLst>
          </p:nvPr>
        </p:nvGraphicFramePr>
        <p:xfrm>
          <a:off x="1988446" y="689129"/>
          <a:ext cx="8495276" cy="55832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664400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03</TotalTime>
  <Words>3425</Words>
  <Application>Microsoft Office PowerPoint</Application>
  <PresentationFormat>Широкоэкранный</PresentationFormat>
  <Paragraphs>481</Paragraphs>
  <Slides>31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48" baseType="lpstr">
      <vt:lpstr>Arial</vt:lpstr>
      <vt:lpstr>Arial Black</vt:lpstr>
      <vt:lpstr>Calibri</vt:lpstr>
      <vt:lpstr>Calibri Light</vt:lpstr>
      <vt:lpstr>Century Gothic</vt:lpstr>
      <vt:lpstr>Foundry Monoline OT3</vt:lpstr>
      <vt:lpstr>Gotham</vt:lpstr>
      <vt:lpstr>KZ_Exo 2 Medium Condensed</vt:lpstr>
      <vt:lpstr>Myanmar Text</vt:lpstr>
      <vt:lpstr>Noto Sans</vt:lpstr>
      <vt:lpstr>Open Sans</vt:lpstr>
      <vt:lpstr>Roboto</vt:lpstr>
      <vt:lpstr>Tahoma</vt:lpstr>
      <vt:lpstr>Times New Roman</vt:lpstr>
      <vt:lpstr>Wingdings</vt:lpstr>
      <vt:lpstr>Office Theme</vt:lpstr>
      <vt:lpstr>think-cell Slide</vt:lpstr>
      <vt:lpstr>Алматы қаласы Цифрландыру басқармасының  2022 жылдың 7 айындағы есебі</vt:lpstr>
      <vt:lpstr>Презентация PowerPoint</vt:lpstr>
      <vt:lpstr>Презентация PowerPoint</vt:lpstr>
      <vt:lpstr>NBK Data Factory шолу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2022 жылдың 2 жартыжылдығына арналған жоспарлар:</vt:lpstr>
      <vt:lpstr>Презентация PowerPoint</vt:lpstr>
      <vt:lpstr>Презентация PowerPoint</vt:lpstr>
      <vt:lpstr>Презентация PowerPoint</vt:lpstr>
      <vt:lpstr>АЛМАТЫ ҚАЛАСЫНЫҢ АТ-ҚОҒАМДАСТЫҒЫНЫҢ ӨКІЛДЕРІ ҮШІН БІРЫҢҒАЙ КОММУНИКАЦИЯЛЫҚ КЕҢІСТІ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Нәтижелері</vt:lpstr>
      <vt:lpstr>Презентация PowerPoint</vt:lpstr>
      <vt:lpstr>Data steward жұмыс есебі</vt:lpstr>
      <vt:lpstr>Презентация PowerPoint</vt:lpstr>
      <vt:lpstr>Әкімшілік-шаруашылық бөлімінің есебі</vt:lpstr>
      <vt:lpstr>1. ҚАРЖЫ   </vt:lpstr>
      <vt:lpstr>2. МЕМЛЕКЕТТІК САТЫП АЛУЛАР 2.1 КОНКУРСТАР   </vt:lpstr>
      <vt:lpstr>Назарларыңызға рақмет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 Template</dc:title>
  <dc:creator>Luiza Imangaliyeva</dc:creator>
  <cp:lastModifiedBy>Админ</cp:lastModifiedBy>
  <cp:revision>482</cp:revision>
  <dcterms:created xsi:type="dcterms:W3CDTF">2020-05-04T14:24:37Z</dcterms:created>
  <dcterms:modified xsi:type="dcterms:W3CDTF">2022-08-25T06:4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5-04T00:00:00Z</vt:filetime>
  </property>
  <property fmtid="{D5CDD505-2E9C-101B-9397-08002B2CF9AE}" pid="3" name="Creator">
    <vt:lpwstr>Adobe Illustrator 24.0 (Macintosh)</vt:lpwstr>
  </property>
  <property fmtid="{D5CDD505-2E9C-101B-9397-08002B2CF9AE}" pid="4" name="LastSaved">
    <vt:filetime>2020-05-04T00:00:00Z</vt:filetime>
  </property>
</Properties>
</file>